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6"/>
  </p:notesMasterIdLst>
  <p:sldIdLst>
    <p:sldId id="290" r:id="rId2"/>
    <p:sldId id="291" r:id="rId3"/>
    <p:sldId id="292" r:id="rId4"/>
    <p:sldId id="293" r:id="rId5"/>
    <p:sldId id="294" r:id="rId6"/>
    <p:sldId id="295" r:id="rId7"/>
    <p:sldId id="296" r:id="rId8"/>
    <p:sldId id="297" r:id="rId9"/>
    <p:sldId id="298" r:id="rId10"/>
    <p:sldId id="299" r:id="rId11"/>
    <p:sldId id="300" r:id="rId12"/>
    <p:sldId id="301" r:id="rId13"/>
    <p:sldId id="302" r:id="rId14"/>
    <p:sldId id="303" r:id="rId15"/>
    <p:sldId id="304" r:id="rId16"/>
    <p:sldId id="305" r:id="rId17"/>
    <p:sldId id="306" r:id="rId18"/>
    <p:sldId id="307" r:id="rId19"/>
    <p:sldId id="308" r:id="rId20"/>
    <p:sldId id="309" r:id="rId21"/>
    <p:sldId id="310" r:id="rId22"/>
    <p:sldId id="311" r:id="rId23"/>
    <p:sldId id="312" r:id="rId24"/>
    <p:sldId id="313" r:id="rId25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 showGuides="1">
      <p:cViewPr>
        <p:scale>
          <a:sx n="117" d="100"/>
          <a:sy n="117" d="100"/>
        </p:scale>
        <p:origin x="-108" y="-31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3A45E0-E82A-4FB3-87DA-7A8822905CFA}" type="datetimeFigureOut">
              <a:rPr lang="cs-CZ" smtClean="0"/>
              <a:t>20.2.2018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6FE22D-EFA9-4245-8C75-48C15D0D9CB5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22887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32250" y="2780928"/>
            <a:ext cx="7060622" cy="387798"/>
          </a:xfrm>
          <a:noFill/>
        </p:spPr>
        <p:txBody>
          <a:bodyPr/>
          <a:lstStyle>
            <a:lvl1pPr algn="l">
              <a:lnSpc>
                <a:spcPct val="100000"/>
              </a:lnSpc>
              <a:defRPr baseline="0"/>
            </a:lvl1pPr>
          </a:lstStyle>
          <a:p>
            <a:r>
              <a:rPr lang="de-DE" dirty="0"/>
              <a:t>Geben Sie hier einen Titel für Ihre Präsentation ein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32250" y="3252463"/>
            <a:ext cx="7060622" cy="387798"/>
          </a:xfrm>
          <a:noFill/>
        </p:spPr>
        <p:txBody>
          <a:bodyPr anchor="ctr" anchorCtr="0"/>
          <a:lstStyle>
            <a:lvl1pPr marL="0" indent="0" algn="l">
              <a:buFontTx/>
              <a:buNone/>
              <a:defRPr lang="de-DE" sz="1600" kern="1200" baseline="0" dirty="0" smtClean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273600" indent="0">
              <a:buFontTx/>
              <a:buNone/>
              <a:defRPr/>
            </a:lvl2pPr>
            <a:lvl3pPr marL="543600" indent="0">
              <a:buFontTx/>
              <a:buNone/>
              <a:defRPr/>
            </a:lvl3pPr>
            <a:lvl4pPr marL="824400" indent="0">
              <a:buFontTx/>
              <a:buNone/>
              <a:defRPr/>
            </a:lvl4pPr>
            <a:lvl5pPr marL="1090800" indent="0">
              <a:buFontTx/>
              <a:buNone/>
              <a:defRPr/>
            </a:lvl5pPr>
          </a:lstStyle>
          <a:p>
            <a:pPr lvl="0"/>
            <a:r>
              <a:rPr lang="de-DE" dirty="0"/>
              <a:t>Hier können Sie der Folie einen Untertitel geben</a:t>
            </a: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0" y="3717032"/>
            <a:ext cx="12192000" cy="0"/>
          </a:xfrm>
          <a:prstGeom prst="line">
            <a:avLst/>
          </a:prstGeom>
          <a:ln w="720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reeform 5"/>
          <p:cNvSpPr>
            <a:spLocks noEditPoints="1"/>
          </p:cNvSpPr>
          <p:nvPr userDrawn="1"/>
        </p:nvSpPr>
        <p:spPr bwMode="auto">
          <a:xfrm>
            <a:off x="7992180" y="3976737"/>
            <a:ext cx="3442112" cy="460800"/>
          </a:xfrm>
          <a:custGeom>
            <a:avLst/>
            <a:gdLst>
              <a:gd name="T0" fmla="*/ 3556 w 3704"/>
              <a:gd name="T1" fmla="*/ 4 h 490"/>
              <a:gd name="T2" fmla="*/ 3628 w 3704"/>
              <a:gd name="T3" fmla="*/ 36 h 490"/>
              <a:gd name="T4" fmla="*/ 3664 w 3704"/>
              <a:gd name="T5" fmla="*/ 94 h 490"/>
              <a:gd name="T6" fmla="*/ 3670 w 3704"/>
              <a:gd name="T7" fmla="*/ 182 h 490"/>
              <a:gd name="T8" fmla="*/ 3632 w 3704"/>
              <a:gd name="T9" fmla="*/ 246 h 490"/>
              <a:gd name="T10" fmla="*/ 3704 w 3704"/>
              <a:gd name="T11" fmla="*/ 490 h 490"/>
              <a:gd name="T12" fmla="*/ 3150 w 3704"/>
              <a:gd name="T13" fmla="*/ 0 h 490"/>
              <a:gd name="T14" fmla="*/ 3414 w 3704"/>
              <a:gd name="T15" fmla="*/ 208 h 490"/>
              <a:gd name="T16" fmla="*/ 3454 w 3704"/>
              <a:gd name="T17" fmla="*/ 178 h 490"/>
              <a:gd name="T18" fmla="*/ 3454 w 3704"/>
              <a:gd name="T19" fmla="*/ 120 h 490"/>
              <a:gd name="T20" fmla="*/ 3424 w 3704"/>
              <a:gd name="T21" fmla="*/ 96 h 490"/>
              <a:gd name="T22" fmla="*/ 2960 w 3704"/>
              <a:gd name="T23" fmla="*/ 0 h 490"/>
              <a:gd name="T24" fmla="*/ 3034 w 3704"/>
              <a:gd name="T25" fmla="*/ 12 h 490"/>
              <a:gd name="T26" fmla="*/ 3092 w 3704"/>
              <a:gd name="T27" fmla="*/ 58 h 490"/>
              <a:gd name="T28" fmla="*/ 3118 w 3704"/>
              <a:gd name="T29" fmla="*/ 144 h 490"/>
              <a:gd name="T30" fmla="*/ 3102 w 3704"/>
              <a:gd name="T31" fmla="*/ 212 h 490"/>
              <a:gd name="T32" fmla="*/ 3048 w 3704"/>
              <a:gd name="T33" fmla="*/ 266 h 490"/>
              <a:gd name="T34" fmla="*/ 2824 w 3704"/>
              <a:gd name="T35" fmla="*/ 350 h 490"/>
              <a:gd name="T36" fmla="*/ 2820 w 3704"/>
              <a:gd name="T37" fmla="*/ 210 h 490"/>
              <a:gd name="T38" fmla="*/ 2876 w 3704"/>
              <a:gd name="T39" fmla="*/ 204 h 490"/>
              <a:gd name="T40" fmla="*/ 2902 w 3704"/>
              <a:gd name="T41" fmla="*/ 168 h 490"/>
              <a:gd name="T42" fmla="*/ 2892 w 3704"/>
              <a:gd name="T43" fmla="*/ 112 h 490"/>
              <a:gd name="T44" fmla="*/ 2848 w 3704"/>
              <a:gd name="T45" fmla="*/ 94 h 490"/>
              <a:gd name="T46" fmla="*/ 244 w 3704"/>
              <a:gd name="T47" fmla="*/ 0 h 490"/>
              <a:gd name="T48" fmla="*/ 624 w 3704"/>
              <a:gd name="T49" fmla="*/ 0 h 490"/>
              <a:gd name="T50" fmla="*/ 1015 w 3704"/>
              <a:gd name="T51" fmla="*/ 378 h 490"/>
              <a:gd name="T52" fmla="*/ 908 w 3704"/>
              <a:gd name="T53" fmla="*/ 190 h 490"/>
              <a:gd name="T54" fmla="*/ 666 w 3704"/>
              <a:gd name="T55" fmla="*/ 490 h 490"/>
              <a:gd name="T56" fmla="*/ 1929 w 3704"/>
              <a:gd name="T57" fmla="*/ 0 h 490"/>
              <a:gd name="T58" fmla="*/ 1603 w 3704"/>
              <a:gd name="T59" fmla="*/ 490 h 490"/>
              <a:gd name="T60" fmla="*/ 2561 w 3704"/>
              <a:gd name="T61" fmla="*/ 490 h 490"/>
              <a:gd name="T62" fmla="*/ 2561 w 3704"/>
              <a:gd name="T63" fmla="*/ 190 h 490"/>
              <a:gd name="T64" fmla="*/ 2213 w 3704"/>
              <a:gd name="T65" fmla="*/ 0 h 490"/>
              <a:gd name="T66" fmla="*/ 1437 w 3704"/>
              <a:gd name="T67" fmla="*/ 0 h 490"/>
              <a:gd name="T68" fmla="*/ 1505 w 3704"/>
              <a:gd name="T69" fmla="*/ 14 h 490"/>
              <a:gd name="T70" fmla="*/ 1553 w 3704"/>
              <a:gd name="T71" fmla="*/ 56 h 490"/>
              <a:gd name="T72" fmla="*/ 1573 w 3704"/>
              <a:gd name="T73" fmla="*/ 130 h 490"/>
              <a:gd name="T74" fmla="*/ 1553 w 3704"/>
              <a:gd name="T75" fmla="*/ 202 h 490"/>
              <a:gd name="T76" fmla="*/ 1511 w 3704"/>
              <a:gd name="T77" fmla="*/ 236 h 490"/>
              <a:gd name="T78" fmla="*/ 1567 w 3704"/>
              <a:gd name="T79" fmla="*/ 296 h 490"/>
              <a:gd name="T80" fmla="*/ 1577 w 3704"/>
              <a:gd name="T81" fmla="*/ 354 h 490"/>
              <a:gd name="T82" fmla="*/ 1545 w 3704"/>
              <a:gd name="T83" fmla="*/ 448 h 490"/>
              <a:gd name="T84" fmla="*/ 1483 w 3704"/>
              <a:gd name="T85" fmla="*/ 484 h 490"/>
              <a:gd name="T86" fmla="*/ 1047 w 3704"/>
              <a:gd name="T87" fmla="*/ 0 h 490"/>
              <a:gd name="T88" fmla="*/ 1325 w 3704"/>
              <a:gd name="T89" fmla="*/ 184 h 490"/>
              <a:gd name="T90" fmla="*/ 1353 w 3704"/>
              <a:gd name="T91" fmla="*/ 154 h 490"/>
              <a:gd name="T92" fmla="*/ 1345 w 3704"/>
              <a:gd name="T93" fmla="*/ 108 h 490"/>
              <a:gd name="T94" fmla="*/ 1313 w 3704"/>
              <a:gd name="T95" fmla="*/ 94 h 490"/>
              <a:gd name="T96" fmla="*/ 1313 w 3704"/>
              <a:gd name="T97" fmla="*/ 392 h 490"/>
              <a:gd name="T98" fmla="*/ 1355 w 3704"/>
              <a:gd name="T99" fmla="*/ 366 h 490"/>
              <a:gd name="T100" fmla="*/ 1355 w 3704"/>
              <a:gd name="T101" fmla="*/ 316 h 490"/>
              <a:gd name="T102" fmla="*/ 1319 w 3704"/>
              <a:gd name="T103" fmla="*/ 292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704" h="490">
                <a:moveTo>
                  <a:pt x="3150" y="0"/>
                </a:moveTo>
                <a:lnTo>
                  <a:pt x="3516" y="0"/>
                </a:lnTo>
                <a:lnTo>
                  <a:pt x="3516" y="0"/>
                </a:lnTo>
                <a:lnTo>
                  <a:pt x="3536" y="0"/>
                </a:lnTo>
                <a:lnTo>
                  <a:pt x="3556" y="4"/>
                </a:lnTo>
                <a:lnTo>
                  <a:pt x="3572" y="8"/>
                </a:lnTo>
                <a:lnTo>
                  <a:pt x="3588" y="12"/>
                </a:lnTo>
                <a:lnTo>
                  <a:pt x="3602" y="20"/>
                </a:lnTo>
                <a:lnTo>
                  <a:pt x="3616" y="28"/>
                </a:lnTo>
                <a:lnTo>
                  <a:pt x="3628" y="36"/>
                </a:lnTo>
                <a:lnTo>
                  <a:pt x="3638" y="46"/>
                </a:lnTo>
                <a:lnTo>
                  <a:pt x="3646" y="58"/>
                </a:lnTo>
                <a:lnTo>
                  <a:pt x="3654" y="70"/>
                </a:lnTo>
                <a:lnTo>
                  <a:pt x="3660" y="80"/>
                </a:lnTo>
                <a:lnTo>
                  <a:pt x="3664" y="94"/>
                </a:lnTo>
                <a:lnTo>
                  <a:pt x="3672" y="118"/>
                </a:lnTo>
                <a:lnTo>
                  <a:pt x="3674" y="144"/>
                </a:lnTo>
                <a:lnTo>
                  <a:pt x="3674" y="144"/>
                </a:lnTo>
                <a:lnTo>
                  <a:pt x="3672" y="164"/>
                </a:lnTo>
                <a:lnTo>
                  <a:pt x="3670" y="182"/>
                </a:lnTo>
                <a:lnTo>
                  <a:pt x="3664" y="198"/>
                </a:lnTo>
                <a:lnTo>
                  <a:pt x="3658" y="212"/>
                </a:lnTo>
                <a:lnTo>
                  <a:pt x="3650" y="226"/>
                </a:lnTo>
                <a:lnTo>
                  <a:pt x="3642" y="236"/>
                </a:lnTo>
                <a:lnTo>
                  <a:pt x="3632" y="246"/>
                </a:lnTo>
                <a:lnTo>
                  <a:pt x="3622" y="254"/>
                </a:lnTo>
                <a:lnTo>
                  <a:pt x="3604" y="266"/>
                </a:lnTo>
                <a:lnTo>
                  <a:pt x="3586" y="274"/>
                </a:lnTo>
                <a:lnTo>
                  <a:pt x="3570" y="278"/>
                </a:lnTo>
                <a:lnTo>
                  <a:pt x="3704" y="490"/>
                </a:lnTo>
                <a:lnTo>
                  <a:pt x="3436" y="490"/>
                </a:lnTo>
                <a:lnTo>
                  <a:pt x="3378" y="350"/>
                </a:lnTo>
                <a:lnTo>
                  <a:pt x="3380" y="490"/>
                </a:lnTo>
                <a:lnTo>
                  <a:pt x="3150" y="490"/>
                </a:lnTo>
                <a:lnTo>
                  <a:pt x="3150" y="0"/>
                </a:lnTo>
                <a:close/>
                <a:moveTo>
                  <a:pt x="3374" y="94"/>
                </a:moveTo>
                <a:lnTo>
                  <a:pt x="3374" y="210"/>
                </a:lnTo>
                <a:lnTo>
                  <a:pt x="3404" y="210"/>
                </a:lnTo>
                <a:lnTo>
                  <a:pt x="3404" y="210"/>
                </a:lnTo>
                <a:lnTo>
                  <a:pt x="3414" y="208"/>
                </a:lnTo>
                <a:lnTo>
                  <a:pt x="3424" y="206"/>
                </a:lnTo>
                <a:lnTo>
                  <a:pt x="3432" y="204"/>
                </a:lnTo>
                <a:lnTo>
                  <a:pt x="3438" y="200"/>
                </a:lnTo>
                <a:lnTo>
                  <a:pt x="3448" y="190"/>
                </a:lnTo>
                <a:lnTo>
                  <a:pt x="3454" y="178"/>
                </a:lnTo>
                <a:lnTo>
                  <a:pt x="3454" y="178"/>
                </a:lnTo>
                <a:lnTo>
                  <a:pt x="3456" y="168"/>
                </a:lnTo>
                <a:lnTo>
                  <a:pt x="3458" y="154"/>
                </a:lnTo>
                <a:lnTo>
                  <a:pt x="3458" y="138"/>
                </a:lnTo>
                <a:lnTo>
                  <a:pt x="3454" y="120"/>
                </a:lnTo>
                <a:lnTo>
                  <a:pt x="3454" y="120"/>
                </a:lnTo>
                <a:lnTo>
                  <a:pt x="3448" y="112"/>
                </a:lnTo>
                <a:lnTo>
                  <a:pt x="3438" y="102"/>
                </a:lnTo>
                <a:lnTo>
                  <a:pt x="3432" y="98"/>
                </a:lnTo>
                <a:lnTo>
                  <a:pt x="3424" y="96"/>
                </a:lnTo>
                <a:lnTo>
                  <a:pt x="3414" y="94"/>
                </a:lnTo>
                <a:lnTo>
                  <a:pt x="3404" y="94"/>
                </a:lnTo>
                <a:lnTo>
                  <a:pt x="3374" y="94"/>
                </a:lnTo>
                <a:close/>
                <a:moveTo>
                  <a:pt x="2595" y="0"/>
                </a:moveTo>
                <a:lnTo>
                  <a:pt x="2960" y="0"/>
                </a:lnTo>
                <a:lnTo>
                  <a:pt x="2960" y="0"/>
                </a:lnTo>
                <a:lnTo>
                  <a:pt x="2982" y="0"/>
                </a:lnTo>
                <a:lnTo>
                  <a:pt x="3000" y="4"/>
                </a:lnTo>
                <a:lnTo>
                  <a:pt x="3018" y="8"/>
                </a:lnTo>
                <a:lnTo>
                  <a:pt x="3034" y="12"/>
                </a:lnTo>
                <a:lnTo>
                  <a:pt x="3048" y="20"/>
                </a:lnTo>
                <a:lnTo>
                  <a:pt x="3060" y="28"/>
                </a:lnTo>
                <a:lnTo>
                  <a:pt x="3072" y="36"/>
                </a:lnTo>
                <a:lnTo>
                  <a:pt x="3082" y="46"/>
                </a:lnTo>
                <a:lnTo>
                  <a:pt x="3092" y="58"/>
                </a:lnTo>
                <a:lnTo>
                  <a:pt x="3098" y="70"/>
                </a:lnTo>
                <a:lnTo>
                  <a:pt x="3106" y="80"/>
                </a:lnTo>
                <a:lnTo>
                  <a:pt x="3110" y="94"/>
                </a:lnTo>
                <a:lnTo>
                  <a:pt x="3116" y="118"/>
                </a:lnTo>
                <a:lnTo>
                  <a:pt x="3118" y="144"/>
                </a:lnTo>
                <a:lnTo>
                  <a:pt x="3118" y="144"/>
                </a:lnTo>
                <a:lnTo>
                  <a:pt x="3118" y="164"/>
                </a:lnTo>
                <a:lnTo>
                  <a:pt x="3114" y="182"/>
                </a:lnTo>
                <a:lnTo>
                  <a:pt x="3110" y="198"/>
                </a:lnTo>
                <a:lnTo>
                  <a:pt x="3102" y="212"/>
                </a:lnTo>
                <a:lnTo>
                  <a:pt x="3094" y="226"/>
                </a:lnTo>
                <a:lnTo>
                  <a:pt x="3086" y="236"/>
                </a:lnTo>
                <a:lnTo>
                  <a:pt x="3076" y="246"/>
                </a:lnTo>
                <a:lnTo>
                  <a:pt x="3068" y="254"/>
                </a:lnTo>
                <a:lnTo>
                  <a:pt x="3048" y="266"/>
                </a:lnTo>
                <a:lnTo>
                  <a:pt x="3032" y="274"/>
                </a:lnTo>
                <a:lnTo>
                  <a:pt x="3016" y="278"/>
                </a:lnTo>
                <a:lnTo>
                  <a:pt x="3148" y="490"/>
                </a:lnTo>
                <a:lnTo>
                  <a:pt x="2882" y="490"/>
                </a:lnTo>
                <a:lnTo>
                  <a:pt x="2824" y="350"/>
                </a:lnTo>
                <a:lnTo>
                  <a:pt x="2824" y="490"/>
                </a:lnTo>
                <a:lnTo>
                  <a:pt x="2595" y="490"/>
                </a:lnTo>
                <a:lnTo>
                  <a:pt x="2595" y="0"/>
                </a:lnTo>
                <a:close/>
                <a:moveTo>
                  <a:pt x="2820" y="94"/>
                </a:moveTo>
                <a:lnTo>
                  <a:pt x="2820" y="210"/>
                </a:lnTo>
                <a:lnTo>
                  <a:pt x="2848" y="210"/>
                </a:lnTo>
                <a:lnTo>
                  <a:pt x="2848" y="210"/>
                </a:lnTo>
                <a:lnTo>
                  <a:pt x="2860" y="208"/>
                </a:lnTo>
                <a:lnTo>
                  <a:pt x="2868" y="206"/>
                </a:lnTo>
                <a:lnTo>
                  <a:pt x="2876" y="204"/>
                </a:lnTo>
                <a:lnTo>
                  <a:pt x="2882" y="200"/>
                </a:lnTo>
                <a:lnTo>
                  <a:pt x="2892" y="190"/>
                </a:lnTo>
                <a:lnTo>
                  <a:pt x="2898" y="178"/>
                </a:lnTo>
                <a:lnTo>
                  <a:pt x="2898" y="178"/>
                </a:lnTo>
                <a:lnTo>
                  <a:pt x="2902" y="168"/>
                </a:lnTo>
                <a:lnTo>
                  <a:pt x="2904" y="154"/>
                </a:lnTo>
                <a:lnTo>
                  <a:pt x="2902" y="138"/>
                </a:lnTo>
                <a:lnTo>
                  <a:pt x="2898" y="120"/>
                </a:lnTo>
                <a:lnTo>
                  <a:pt x="2898" y="120"/>
                </a:lnTo>
                <a:lnTo>
                  <a:pt x="2892" y="112"/>
                </a:lnTo>
                <a:lnTo>
                  <a:pt x="2884" y="102"/>
                </a:lnTo>
                <a:lnTo>
                  <a:pt x="2878" y="98"/>
                </a:lnTo>
                <a:lnTo>
                  <a:pt x="2870" y="96"/>
                </a:lnTo>
                <a:lnTo>
                  <a:pt x="2860" y="94"/>
                </a:lnTo>
                <a:lnTo>
                  <a:pt x="2848" y="94"/>
                </a:lnTo>
                <a:lnTo>
                  <a:pt x="2820" y="94"/>
                </a:lnTo>
                <a:close/>
                <a:moveTo>
                  <a:pt x="350" y="490"/>
                </a:moveTo>
                <a:lnTo>
                  <a:pt x="350" y="354"/>
                </a:lnTo>
                <a:lnTo>
                  <a:pt x="244" y="354"/>
                </a:lnTo>
                <a:lnTo>
                  <a:pt x="244" y="0"/>
                </a:lnTo>
                <a:lnTo>
                  <a:pt x="0" y="0"/>
                </a:lnTo>
                <a:lnTo>
                  <a:pt x="0" y="490"/>
                </a:lnTo>
                <a:lnTo>
                  <a:pt x="350" y="490"/>
                </a:lnTo>
                <a:close/>
                <a:moveTo>
                  <a:pt x="386" y="0"/>
                </a:moveTo>
                <a:lnTo>
                  <a:pt x="624" y="0"/>
                </a:lnTo>
                <a:lnTo>
                  <a:pt x="624" y="490"/>
                </a:lnTo>
                <a:lnTo>
                  <a:pt x="386" y="490"/>
                </a:lnTo>
                <a:lnTo>
                  <a:pt x="386" y="0"/>
                </a:lnTo>
                <a:close/>
                <a:moveTo>
                  <a:pt x="1015" y="490"/>
                </a:moveTo>
                <a:lnTo>
                  <a:pt x="1015" y="378"/>
                </a:lnTo>
                <a:lnTo>
                  <a:pt x="908" y="378"/>
                </a:lnTo>
                <a:lnTo>
                  <a:pt x="908" y="288"/>
                </a:lnTo>
                <a:lnTo>
                  <a:pt x="1013" y="288"/>
                </a:lnTo>
                <a:lnTo>
                  <a:pt x="1013" y="190"/>
                </a:lnTo>
                <a:lnTo>
                  <a:pt x="908" y="190"/>
                </a:lnTo>
                <a:lnTo>
                  <a:pt x="908" y="96"/>
                </a:lnTo>
                <a:lnTo>
                  <a:pt x="1015" y="96"/>
                </a:lnTo>
                <a:lnTo>
                  <a:pt x="1015" y="0"/>
                </a:lnTo>
                <a:lnTo>
                  <a:pt x="666" y="0"/>
                </a:lnTo>
                <a:lnTo>
                  <a:pt x="666" y="490"/>
                </a:lnTo>
                <a:lnTo>
                  <a:pt x="1015" y="490"/>
                </a:lnTo>
                <a:close/>
                <a:moveTo>
                  <a:pt x="1929" y="490"/>
                </a:moveTo>
                <a:lnTo>
                  <a:pt x="2171" y="490"/>
                </a:lnTo>
                <a:lnTo>
                  <a:pt x="2171" y="0"/>
                </a:lnTo>
                <a:lnTo>
                  <a:pt x="1929" y="0"/>
                </a:lnTo>
                <a:lnTo>
                  <a:pt x="1929" y="186"/>
                </a:lnTo>
                <a:lnTo>
                  <a:pt x="1851" y="186"/>
                </a:lnTo>
                <a:lnTo>
                  <a:pt x="1851" y="0"/>
                </a:lnTo>
                <a:lnTo>
                  <a:pt x="1603" y="0"/>
                </a:lnTo>
                <a:lnTo>
                  <a:pt x="1603" y="490"/>
                </a:lnTo>
                <a:lnTo>
                  <a:pt x="1851" y="490"/>
                </a:lnTo>
                <a:lnTo>
                  <a:pt x="1851" y="284"/>
                </a:lnTo>
                <a:lnTo>
                  <a:pt x="1929" y="284"/>
                </a:lnTo>
                <a:lnTo>
                  <a:pt x="1929" y="490"/>
                </a:lnTo>
                <a:close/>
                <a:moveTo>
                  <a:pt x="2561" y="490"/>
                </a:moveTo>
                <a:lnTo>
                  <a:pt x="2561" y="378"/>
                </a:lnTo>
                <a:lnTo>
                  <a:pt x="2455" y="378"/>
                </a:lnTo>
                <a:lnTo>
                  <a:pt x="2455" y="288"/>
                </a:lnTo>
                <a:lnTo>
                  <a:pt x="2561" y="288"/>
                </a:lnTo>
                <a:lnTo>
                  <a:pt x="2561" y="190"/>
                </a:lnTo>
                <a:lnTo>
                  <a:pt x="2455" y="190"/>
                </a:lnTo>
                <a:lnTo>
                  <a:pt x="2455" y="96"/>
                </a:lnTo>
                <a:lnTo>
                  <a:pt x="2561" y="96"/>
                </a:lnTo>
                <a:lnTo>
                  <a:pt x="2561" y="0"/>
                </a:lnTo>
                <a:lnTo>
                  <a:pt x="2213" y="0"/>
                </a:lnTo>
                <a:lnTo>
                  <a:pt x="2213" y="490"/>
                </a:lnTo>
                <a:lnTo>
                  <a:pt x="2561" y="490"/>
                </a:lnTo>
                <a:close/>
                <a:moveTo>
                  <a:pt x="1047" y="0"/>
                </a:moveTo>
                <a:lnTo>
                  <a:pt x="1047" y="0"/>
                </a:lnTo>
                <a:lnTo>
                  <a:pt x="1437" y="0"/>
                </a:lnTo>
                <a:lnTo>
                  <a:pt x="1437" y="0"/>
                </a:lnTo>
                <a:lnTo>
                  <a:pt x="1457" y="0"/>
                </a:lnTo>
                <a:lnTo>
                  <a:pt x="1475" y="4"/>
                </a:lnTo>
                <a:lnTo>
                  <a:pt x="1491" y="8"/>
                </a:lnTo>
                <a:lnTo>
                  <a:pt x="1505" y="14"/>
                </a:lnTo>
                <a:lnTo>
                  <a:pt x="1517" y="20"/>
                </a:lnTo>
                <a:lnTo>
                  <a:pt x="1527" y="28"/>
                </a:lnTo>
                <a:lnTo>
                  <a:pt x="1537" y="36"/>
                </a:lnTo>
                <a:lnTo>
                  <a:pt x="1545" y="46"/>
                </a:lnTo>
                <a:lnTo>
                  <a:pt x="1553" y="56"/>
                </a:lnTo>
                <a:lnTo>
                  <a:pt x="1559" y="68"/>
                </a:lnTo>
                <a:lnTo>
                  <a:pt x="1567" y="88"/>
                </a:lnTo>
                <a:lnTo>
                  <a:pt x="1571" y="110"/>
                </a:lnTo>
                <a:lnTo>
                  <a:pt x="1573" y="130"/>
                </a:lnTo>
                <a:lnTo>
                  <a:pt x="1573" y="130"/>
                </a:lnTo>
                <a:lnTo>
                  <a:pt x="1571" y="144"/>
                </a:lnTo>
                <a:lnTo>
                  <a:pt x="1569" y="158"/>
                </a:lnTo>
                <a:lnTo>
                  <a:pt x="1567" y="172"/>
                </a:lnTo>
                <a:lnTo>
                  <a:pt x="1563" y="182"/>
                </a:lnTo>
                <a:lnTo>
                  <a:pt x="1553" y="202"/>
                </a:lnTo>
                <a:lnTo>
                  <a:pt x="1543" y="216"/>
                </a:lnTo>
                <a:lnTo>
                  <a:pt x="1531" y="226"/>
                </a:lnTo>
                <a:lnTo>
                  <a:pt x="1521" y="232"/>
                </a:lnTo>
                <a:lnTo>
                  <a:pt x="1511" y="236"/>
                </a:lnTo>
                <a:lnTo>
                  <a:pt x="1511" y="236"/>
                </a:lnTo>
                <a:lnTo>
                  <a:pt x="1523" y="242"/>
                </a:lnTo>
                <a:lnTo>
                  <a:pt x="1533" y="250"/>
                </a:lnTo>
                <a:lnTo>
                  <a:pt x="1545" y="260"/>
                </a:lnTo>
                <a:lnTo>
                  <a:pt x="1557" y="276"/>
                </a:lnTo>
                <a:lnTo>
                  <a:pt x="1567" y="296"/>
                </a:lnTo>
                <a:lnTo>
                  <a:pt x="1571" y="308"/>
                </a:lnTo>
                <a:lnTo>
                  <a:pt x="1575" y="322"/>
                </a:lnTo>
                <a:lnTo>
                  <a:pt x="1577" y="336"/>
                </a:lnTo>
                <a:lnTo>
                  <a:pt x="1577" y="354"/>
                </a:lnTo>
                <a:lnTo>
                  <a:pt x="1577" y="354"/>
                </a:lnTo>
                <a:lnTo>
                  <a:pt x="1575" y="378"/>
                </a:lnTo>
                <a:lnTo>
                  <a:pt x="1571" y="400"/>
                </a:lnTo>
                <a:lnTo>
                  <a:pt x="1565" y="418"/>
                </a:lnTo>
                <a:lnTo>
                  <a:pt x="1557" y="434"/>
                </a:lnTo>
                <a:lnTo>
                  <a:pt x="1545" y="448"/>
                </a:lnTo>
                <a:lnTo>
                  <a:pt x="1535" y="460"/>
                </a:lnTo>
                <a:lnTo>
                  <a:pt x="1521" y="468"/>
                </a:lnTo>
                <a:lnTo>
                  <a:pt x="1509" y="476"/>
                </a:lnTo>
                <a:lnTo>
                  <a:pt x="1495" y="480"/>
                </a:lnTo>
                <a:lnTo>
                  <a:pt x="1483" y="484"/>
                </a:lnTo>
                <a:lnTo>
                  <a:pt x="1457" y="488"/>
                </a:lnTo>
                <a:lnTo>
                  <a:pt x="1437" y="490"/>
                </a:lnTo>
                <a:lnTo>
                  <a:pt x="1425" y="490"/>
                </a:lnTo>
                <a:lnTo>
                  <a:pt x="1047" y="490"/>
                </a:lnTo>
                <a:lnTo>
                  <a:pt x="1047" y="0"/>
                </a:lnTo>
                <a:close/>
                <a:moveTo>
                  <a:pt x="1281" y="94"/>
                </a:moveTo>
                <a:lnTo>
                  <a:pt x="1281" y="186"/>
                </a:lnTo>
                <a:lnTo>
                  <a:pt x="1313" y="186"/>
                </a:lnTo>
                <a:lnTo>
                  <a:pt x="1313" y="186"/>
                </a:lnTo>
                <a:lnTo>
                  <a:pt x="1325" y="184"/>
                </a:lnTo>
                <a:lnTo>
                  <a:pt x="1335" y="180"/>
                </a:lnTo>
                <a:lnTo>
                  <a:pt x="1343" y="172"/>
                </a:lnTo>
                <a:lnTo>
                  <a:pt x="1349" y="162"/>
                </a:lnTo>
                <a:lnTo>
                  <a:pt x="1349" y="162"/>
                </a:lnTo>
                <a:lnTo>
                  <a:pt x="1353" y="154"/>
                </a:lnTo>
                <a:lnTo>
                  <a:pt x="1355" y="142"/>
                </a:lnTo>
                <a:lnTo>
                  <a:pt x="1353" y="130"/>
                </a:lnTo>
                <a:lnTo>
                  <a:pt x="1349" y="116"/>
                </a:lnTo>
                <a:lnTo>
                  <a:pt x="1349" y="116"/>
                </a:lnTo>
                <a:lnTo>
                  <a:pt x="1345" y="108"/>
                </a:lnTo>
                <a:lnTo>
                  <a:pt x="1339" y="102"/>
                </a:lnTo>
                <a:lnTo>
                  <a:pt x="1335" y="98"/>
                </a:lnTo>
                <a:lnTo>
                  <a:pt x="1329" y="96"/>
                </a:lnTo>
                <a:lnTo>
                  <a:pt x="1319" y="94"/>
                </a:lnTo>
                <a:lnTo>
                  <a:pt x="1313" y="94"/>
                </a:lnTo>
                <a:lnTo>
                  <a:pt x="1281" y="94"/>
                </a:lnTo>
                <a:close/>
                <a:moveTo>
                  <a:pt x="1279" y="292"/>
                </a:moveTo>
                <a:lnTo>
                  <a:pt x="1279" y="392"/>
                </a:lnTo>
                <a:lnTo>
                  <a:pt x="1313" y="392"/>
                </a:lnTo>
                <a:lnTo>
                  <a:pt x="1313" y="392"/>
                </a:lnTo>
                <a:lnTo>
                  <a:pt x="1327" y="390"/>
                </a:lnTo>
                <a:lnTo>
                  <a:pt x="1339" y="384"/>
                </a:lnTo>
                <a:lnTo>
                  <a:pt x="1349" y="376"/>
                </a:lnTo>
                <a:lnTo>
                  <a:pt x="1355" y="366"/>
                </a:lnTo>
                <a:lnTo>
                  <a:pt x="1355" y="366"/>
                </a:lnTo>
                <a:lnTo>
                  <a:pt x="1359" y="356"/>
                </a:lnTo>
                <a:lnTo>
                  <a:pt x="1361" y="344"/>
                </a:lnTo>
                <a:lnTo>
                  <a:pt x="1359" y="330"/>
                </a:lnTo>
                <a:lnTo>
                  <a:pt x="1355" y="316"/>
                </a:lnTo>
                <a:lnTo>
                  <a:pt x="1355" y="316"/>
                </a:lnTo>
                <a:lnTo>
                  <a:pt x="1349" y="306"/>
                </a:lnTo>
                <a:lnTo>
                  <a:pt x="1343" y="300"/>
                </a:lnTo>
                <a:lnTo>
                  <a:pt x="1337" y="296"/>
                </a:lnTo>
                <a:lnTo>
                  <a:pt x="1331" y="294"/>
                </a:lnTo>
                <a:lnTo>
                  <a:pt x="1319" y="292"/>
                </a:lnTo>
                <a:lnTo>
                  <a:pt x="1313" y="292"/>
                </a:lnTo>
                <a:lnTo>
                  <a:pt x="1279" y="2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590452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d mit 2/3 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7173912" y="1617663"/>
            <a:ext cx="5018088" cy="4624388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 w="3175">
            <a:solidFill>
              <a:schemeClr val="bg1"/>
            </a:solidFill>
          </a:ln>
        </p:spPr>
        <p:txBody>
          <a:bodyPr tIns="684000" anchor="ctr"/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723899" y="1617663"/>
            <a:ext cx="6010275" cy="4624388"/>
          </a:xfrm>
          <a:prstGeom prst="rect">
            <a:avLst/>
          </a:prstGeom>
        </p:spPr>
        <p:txBody>
          <a:bodyPr/>
          <a:lstStyle>
            <a:lvl1pPr marL="288000">
              <a:defRPr/>
            </a:lvl1pPr>
          </a:lstStyle>
          <a:p>
            <a:pPr lvl="0"/>
            <a:r>
              <a:rPr lang="de-DE" dirty="0"/>
              <a:t>Nutzen Sie diesen Platzhalter um einen Text oder eine Bildbeschreibung einzufüge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23899" y="384175"/>
            <a:ext cx="10744202" cy="2333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Hier können Sie der Folie einen Zusatztitel geben.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188876BA-F89A-4A17-80D7-AF70CF09511B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5541264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>
        <p15:guide id="1" pos="4242">
          <p15:clr>
            <a:srgbClr val="9FCC3B"/>
          </p15:clr>
        </p15:guide>
        <p15:guide id="2" pos="4520">
          <p15:clr>
            <a:srgbClr val="9FCC3B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nzseitiges Bild- Textbox gelb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/>
          <p:cNvSpPr>
            <a:spLocks noGrp="1"/>
          </p:cNvSpPr>
          <p:nvPr>
            <p:ph type="pic" sz="quarter" idx="18"/>
          </p:nvPr>
        </p:nvSpPr>
        <p:spPr>
          <a:xfrm>
            <a:off x="0" y="-12032"/>
            <a:ext cx="12192000" cy="6870032"/>
          </a:xfrm>
          <a:custGeom>
            <a:avLst/>
            <a:gdLst>
              <a:gd name="connsiteX0" fmla="*/ 723900 w 12192000"/>
              <a:gd name="connsiteY0" fmla="*/ 2564128 h 6858000"/>
              <a:gd name="connsiteX1" fmla="*/ 723900 w 12192000"/>
              <a:gd name="connsiteY1" fmla="*/ 2640011 h 6858000"/>
              <a:gd name="connsiteX2" fmla="*/ 4067175 w 12192000"/>
              <a:gd name="connsiteY2" fmla="*/ 2640011 h 6858000"/>
              <a:gd name="connsiteX3" fmla="*/ 4067175 w 12192000"/>
              <a:gd name="connsiteY3" fmla="*/ 2564128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23900" y="2564128"/>
                </a:moveTo>
                <a:lnTo>
                  <a:pt x="723900" y="2640011"/>
                </a:lnTo>
                <a:lnTo>
                  <a:pt x="4067175" y="2640011"/>
                </a:lnTo>
                <a:lnTo>
                  <a:pt x="4067175" y="2564128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wrap="square" tIns="900000" anchor="ctr">
            <a:noAutofit/>
          </a:bodyPr>
          <a:lstStyle>
            <a:lvl1pPr marL="0" indent="0" algn="ctr"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en-GB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23900" y="2640013"/>
            <a:ext cx="3343275" cy="3217862"/>
          </a:xfrm>
          <a:solidFill>
            <a:schemeClr val="bg1">
              <a:alpha val="90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9" name="Textplatzhalter 2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992982" y="3649745"/>
            <a:ext cx="2832100" cy="184409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400" baseline="0"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 dirty="0"/>
              <a:t>Kicken Sie hier, um einen Text oder eine Bildbeschreibung einzufügen. </a:t>
            </a:r>
          </a:p>
        </p:txBody>
      </p:sp>
      <p:sp>
        <p:nvSpPr>
          <p:cNvPr id="12" name="Textplatzhalter 1"/>
          <p:cNvSpPr>
            <a:spLocks noGrp="1"/>
          </p:cNvSpPr>
          <p:nvPr>
            <p:ph type="body" sz="quarter" idx="16" hasCustomPrompt="1"/>
          </p:nvPr>
        </p:nvSpPr>
        <p:spPr>
          <a:xfrm>
            <a:off x="992983" y="3155282"/>
            <a:ext cx="2832100" cy="2641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400" b="1" baseline="0"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Geben Sie hier einen Titel ein.</a:t>
            </a:r>
          </a:p>
        </p:txBody>
      </p:sp>
      <p:sp>
        <p:nvSpPr>
          <p:cNvPr id="3" name="Foliennummernplatzhalter 2" hidden="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2" name="Datumsplatzhalter 1" hidden="1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pPr marL="0" indent="0"/>
            <a:fld id="{7E67360E-DCAB-49D9-82B8-B8161E60860E}" type="datetime1">
              <a:rPr lang="de-DE" smtClean="0"/>
              <a:t>20.02.2018</a:t>
            </a:fld>
            <a:endParaRPr lang="de-DE" dirty="0"/>
          </a:p>
        </p:txBody>
      </p:sp>
      <p:sp>
        <p:nvSpPr>
          <p:cNvPr id="4" name="Fußzeilenplatzhalter 3" hidden="1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3" hasCustomPrompt="1"/>
          </p:nvPr>
        </p:nvSpPr>
        <p:spPr>
          <a:xfrm>
            <a:off x="723900" y="2564127"/>
            <a:ext cx="3343275" cy="75882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baseline="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20103290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23899" y="384175"/>
            <a:ext cx="10744202" cy="2333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Hier können Sie der Folie einen Zusatztitel geben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7" name="Rechteck 6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723899" y="1617663"/>
            <a:ext cx="10744202" cy="46243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tangle 7" hidden="1"/>
          <p:cNvSpPr/>
          <p:nvPr userDrawn="1">
            <p:custDataLst>
              <p:tags r:id="rId2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tangle 8" hidden="1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723899" y="1617663"/>
            <a:ext cx="10744202" cy="462438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E3BBA18D-E0FE-41C2-BFE9-878E79FF8560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291814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2" name="Rechteck 1" hidden="1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723899" y="384175"/>
            <a:ext cx="10744202" cy="233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hteck 4" hidden="1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723899" y="693264"/>
            <a:ext cx="10744202" cy="3877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Rechteck 7" hidden="1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412750" y="1081088"/>
            <a:ext cx="11526838" cy="51609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Rectangle 8" hidden="1"/>
          <p:cNvSpPr/>
          <p:nvPr userDrawn="1">
            <p:custDataLst>
              <p:tags r:id="rId4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Rectangle 9" hidden="1"/>
          <p:cNvSpPr>
            <a:spLocks/>
          </p:cNvSpPr>
          <p:nvPr userDrawn="1">
            <p:custDataLst>
              <p:tags r:id="rId5"/>
            </p:custDataLst>
          </p:nvPr>
        </p:nvSpPr>
        <p:spPr>
          <a:xfrm>
            <a:off x="0" y="0"/>
            <a:ext cx="12192000" cy="624205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5A4D3F2A-5B26-4A90-8442-CFECBD72C311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244172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995623" y="5292497"/>
            <a:ext cx="6475651" cy="584775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3200" baseline="0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noProof="0" dirty="0"/>
              <a:t>Kurze Pause!</a:t>
            </a: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659821" y="4948217"/>
            <a:ext cx="0" cy="864000"/>
          </a:xfrm>
          <a:prstGeom prst="line">
            <a:avLst/>
          </a:prstGeom>
          <a:ln w="1152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6401360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0" y="4221088"/>
            <a:ext cx="12192000" cy="263691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0"/>
          </p:nvPr>
        </p:nvSpPr>
        <p:spPr>
          <a:xfrm>
            <a:off x="0" y="160"/>
            <a:ext cx="12192000" cy="4220928"/>
          </a:xfr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tIns="684000" anchor="ctr" anchorCtr="0"/>
          <a:lstStyle>
            <a:lvl1pPr marL="0" indent="0" algn="ctr"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659821" y="4948217"/>
            <a:ext cx="0" cy="864000"/>
          </a:xfrm>
          <a:prstGeom prst="line">
            <a:avLst/>
          </a:prstGeom>
          <a:ln w="1152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4995623" y="5289322"/>
            <a:ext cx="6475651" cy="584775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lang="en-US" sz="3200" baseline="0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noProof="0" dirty="0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3679819766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7535863" y="1617664"/>
            <a:ext cx="3932236" cy="1001712"/>
          </a:xfrm>
          <a:noFill/>
        </p:spPr>
        <p:txBody>
          <a:bodyPr anchor="b" anchorCtr="0">
            <a:noAutofit/>
          </a:bodyPr>
          <a:lstStyle>
            <a:lvl1pPr marL="0" indent="0" algn="l">
              <a:buFontTx/>
              <a:buNone/>
              <a:defRPr sz="2800" baseline="0"/>
            </a:lvl1pPr>
          </a:lstStyle>
          <a:p>
            <a:r>
              <a:rPr lang="de-DE" dirty="0"/>
              <a:t>Klicken Sie hier, um Ihren Titel einzufügen. 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535863" y="2768736"/>
            <a:ext cx="3932236" cy="377577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>
              <a:buNone/>
              <a:defRPr sz="1800" baseline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Geben Sie hier einen Untertitel ein. 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7956550" y="3428999"/>
            <a:ext cx="3136900" cy="1539876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100138" y="3117850"/>
            <a:ext cx="6075319" cy="185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1600" baseline="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dirty="0"/>
              <a:t>Diesen Platzhalter können Sie nutzen, um Ihre Präsentation zu beschreiben. </a:t>
            </a:r>
          </a:p>
        </p:txBody>
      </p:sp>
      <p:cxnSp>
        <p:nvCxnSpPr>
          <p:cNvPr id="7" name="Straight Connector 31"/>
          <p:cNvCxnSpPr>
            <a:cxnSpLocks/>
          </p:cNvCxnSpPr>
          <p:nvPr userDrawn="1"/>
        </p:nvCxnSpPr>
        <p:spPr>
          <a:xfrm flipH="1">
            <a:off x="7356475" y="1617663"/>
            <a:ext cx="1" cy="3621087"/>
          </a:xfrm>
          <a:prstGeom prst="line">
            <a:avLst/>
          </a:prstGeom>
          <a:ln w="3175">
            <a:solidFill>
              <a:schemeClr val="accent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>
            <a:grpSpLocks/>
          </p:cNvGrpSpPr>
          <p:nvPr userDrawn="1"/>
        </p:nvGrpSpPr>
        <p:grpSpPr>
          <a:xfrm>
            <a:off x="7304611" y="3424922"/>
            <a:ext cx="105485" cy="104466"/>
            <a:chOff x="746125" y="1812366"/>
            <a:chExt cx="105485" cy="104466"/>
          </a:xfrm>
        </p:grpSpPr>
        <p:sp>
          <p:nvSpPr>
            <p:cNvPr id="10" name="Rechteck 18"/>
            <p:cNvSpPr/>
            <p:nvPr userDrawn="1"/>
          </p:nvSpPr>
          <p:spPr>
            <a:xfrm>
              <a:off x="746125" y="1812366"/>
              <a:ext cx="105485" cy="10446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3" name="Rechteck 17"/>
            <p:cNvSpPr/>
            <p:nvPr userDrawn="1"/>
          </p:nvSpPr>
          <p:spPr>
            <a:xfrm>
              <a:off x="762001" y="1831106"/>
              <a:ext cx="66674" cy="6667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5" name="Freeform 5"/>
          <p:cNvSpPr>
            <a:spLocks noEditPoints="1"/>
          </p:cNvSpPr>
          <p:nvPr userDrawn="1"/>
        </p:nvSpPr>
        <p:spPr bwMode="auto">
          <a:xfrm>
            <a:off x="9961235" y="6422232"/>
            <a:ext cx="1505924" cy="201600"/>
          </a:xfrm>
          <a:custGeom>
            <a:avLst/>
            <a:gdLst>
              <a:gd name="T0" fmla="*/ 3556 w 3704"/>
              <a:gd name="T1" fmla="*/ 4 h 490"/>
              <a:gd name="T2" fmla="*/ 3628 w 3704"/>
              <a:gd name="T3" fmla="*/ 36 h 490"/>
              <a:gd name="T4" fmla="*/ 3664 w 3704"/>
              <a:gd name="T5" fmla="*/ 94 h 490"/>
              <a:gd name="T6" fmla="*/ 3670 w 3704"/>
              <a:gd name="T7" fmla="*/ 182 h 490"/>
              <a:gd name="T8" fmla="*/ 3632 w 3704"/>
              <a:gd name="T9" fmla="*/ 246 h 490"/>
              <a:gd name="T10" fmla="*/ 3704 w 3704"/>
              <a:gd name="T11" fmla="*/ 490 h 490"/>
              <a:gd name="T12" fmla="*/ 3150 w 3704"/>
              <a:gd name="T13" fmla="*/ 0 h 490"/>
              <a:gd name="T14" fmla="*/ 3414 w 3704"/>
              <a:gd name="T15" fmla="*/ 208 h 490"/>
              <a:gd name="T16" fmla="*/ 3454 w 3704"/>
              <a:gd name="T17" fmla="*/ 178 h 490"/>
              <a:gd name="T18" fmla="*/ 3454 w 3704"/>
              <a:gd name="T19" fmla="*/ 120 h 490"/>
              <a:gd name="T20" fmla="*/ 3424 w 3704"/>
              <a:gd name="T21" fmla="*/ 96 h 490"/>
              <a:gd name="T22" fmla="*/ 2960 w 3704"/>
              <a:gd name="T23" fmla="*/ 0 h 490"/>
              <a:gd name="T24" fmla="*/ 3034 w 3704"/>
              <a:gd name="T25" fmla="*/ 12 h 490"/>
              <a:gd name="T26" fmla="*/ 3092 w 3704"/>
              <a:gd name="T27" fmla="*/ 58 h 490"/>
              <a:gd name="T28" fmla="*/ 3118 w 3704"/>
              <a:gd name="T29" fmla="*/ 144 h 490"/>
              <a:gd name="T30" fmla="*/ 3102 w 3704"/>
              <a:gd name="T31" fmla="*/ 212 h 490"/>
              <a:gd name="T32" fmla="*/ 3048 w 3704"/>
              <a:gd name="T33" fmla="*/ 266 h 490"/>
              <a:gd name="T34" fmla="*/ 2824 w 3704"/>
              <a:gd name="T35" fmla="*/ 350 h 490"/>
              <a:gd name="T36" fmla="*/ 2820 w 3704"/>
              <a:gd name="T37" fmla="*/ 210 h 490"/>
              <a:gd name="T38" fmla="*/ 2876 w 3704"/>
              <a:gd name="T39" fmla="*/ 204 h 490"/>
              <a:gd name="T40" fmla="*/ 2902 w 3704"/>
              <a:gd name="T41" fmla="*/ 168 h 490"/>
              <a:gd name="T42" fmla="*/ 2892 w 3704"/>
              <a:gd name="T43" fmla="*/ 112 h 490"/>
              <a:gd name="T44" fmla="*/ 2848 w 3704"/>
              <a:gd name="T45" fmla="*/ 94 h 490"/>
              <a:gd name="T46" fmla="*/ 244 w 3704"/>
              <a:gd name="T47" fmla="*/ 0 h 490"/>
              <a:gd name="T48" fmla="*/ 624 w 3704"/>
              <a:gd name="T49" fmla="*/ 0 h 490"/>
              <a:gd name="T50" fmla="*/ 1015 w 3704"/>
              <a:gd name="T51" fmla="*/ 378 h 490"/>
              <a:gd name="T52" fmla="*/ 908 w 3704"/>
              <a:gd name="T53" fmla="*/ 190 h 490"/>
              <a:gd name="T54" fmla="*/ 666 w 3704"/>
              <a:gd name="T55" fmla="*/ 490 h 490"/>
              <a:gd name="T56" fmla="*/ 1929 w 3704"/>
              <a:gd name="T57" fmla="*/ 0 h 490"/>
              <a:gd name="T58" fmla="*/ 1603 w 3704"/>
              <a:gd name="T59" fmla="*/ 490 h 490"/>
              <a:gd name="T60" fmla="*/ 2561 w 3704"/>
              <a:gd name="T61" fmla="*/ 490 h 490"/>
              <a:gd name="T62" fmla="*/ 2561 w 3704"/>
              <a:gd name="T63" fmla="*/ 190 h 490"/>
              <a:gd name="T64" fmla="*/ 2213 w 3704"/>
              <a:gd name="T65" fmla="*/ 0 h 490"/>
              <a:gd name="T66" fmla="*/ 1437 w 3704"/>
              <a:gd name="T67" fmla="*/ 0 h 490"/>
              <a:gd name="T68" fmla="*/ 1505 w 3704"/>
              <a:gd name="T69" fmla="*/ 14 h 490"/>
              <a:gd name="T70" fmla="*/ 1553 w 3704"/>
              <a:gd name="T71" fmla="*/ 56 h 490"/>
              <a:gd name="T72" fmla="*/ 1573 w 3704"/>
              <a:gd name="T73" fmla="*/ 130 h 490"/>
              <a:gd name="T74" fmla="*/ 1553 w 3704"/>
              <a:gd name="T75" fmla="*/ 202 h 490"/>
              <a:gd name="T76" fmla="*/ 1511 w 3704"/>
              <a:gd name="T77" fmla="*/ 236 h 490"/>
              <a:gd name="T78" fmla="*/ 1567 w 3704"/>
              <a:gd name="T79" fmla="*/ 296 h 490"/>
              <a:gd name="T80" fmla="*/ 1577 w 3704"/>
              <a:gd name="T81" fmla="*/ 354 h 490"/>
              <a:gd name="T82" fmla="*/ 1545 w 3704"/>
              <a:gd name="T83" fmla="*/ 448 h 490"/>
              <a:gd name="T84" fmla="*/ 1483 w 3704"/>
              <a:gd name="T85" fmla="*/ 484 h 490"/>
              <a:gd name="T86" fmla="*/ 1047 w 3704"/>
              <a:gd name="T87" fmla="*/ 0 h 490"/>
              <a:gd name="T88" fmla="*/ 1325 w 3704"/>
              <a:gd name="T89" fmla="*/ 184 h 490"/>
              <a:gd name="T90" fmla="*/ 1353 w 3704"/>
              <a:gd name="T91" fmla="*/ 154 h 490"/>
              <a:gd name="T92" fmla="*/ 1345 w 3704"/>
              <a:gd name="T93" fmla="*/ 108 h 490"/>
              <a:gd name="T94" fmla="*/ 1313 w 3704"/>
              <a:gd name="T95" fmla="*/ 94 h 490"/>
              <a:gd name="T96" fmla="*/ 1313 w 3704"/>
              <a:gd name="T97" fmla="*/ 392 h 490"/>
              <a:gd name="T98" fmla="*/ 1355 w 3704"/>
              <a:gd name="T99" fmla="*/ 366 h 490"/>
              <a:gd name="T100" fmla="*/ 1355 w 3704"/>
              <a:gd name="T101" fmla="*/ 316 h 490"/>
              <a:gd name="T102" fmla="*/ 1319 w 3704"/>
              <a:gd name="T103" fmla="*/ 292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704" h="490">
                <a:moveTo>
                  <a:pt x="3150" y="0"/>
                </a:moveTo>
                <a:lnTo>
                  <a:pt x="3516" y="0"/>
                </a:lnTo>
                <a:lnTo>
                  <a:pt x="3516" y="0"/>
                </a:lnTo>
                <a:lnTo>
                  <a:pt x="3536" y="0"/>
                </a:lnTo>
                <a:lnTo>
                  <a:pt x="3556" y="4"/>
                </a:lnTo>
                <a:lnTo>
                  <a:pt x="3572" y="8"/>
                </a:lnTo>
                <a:lnTo>
                  <a:pt x="3588" y="12"/>
                </a:lnTo>
                <a:lnTo>
                  <a:pt x="3602" y="20"/>
                </a:lnTo>
                <a:lnTo>
                  <a:pt x="3616" y="28"/>
                </a:lnTo>
                <a:lnTo>
                  <a:pt x="3628" y="36"/>
                </a:lnTo>
                <a:lnTo>
                  <a:pt x="3638" y="46"/>
                </a:lnTo>
                <a:lnTo>
                  <a:pt x="3646" y="58"/>
                </a:lnTo>
                <a:lnTo>
                  <a:pt x="3654" y="70"/>
                </a:lnTo>
                <a:lnTo>
                  <a:pt x="3660" y="80"/>
                </a:lnTo>
                <a:lnTo>
                  <a:pt x="3664" y="94"/>
                </a:lnTo>
                <a:lnTo>
                  <a:pt x="3672" y="118"/>
                </a:lnTo>
                <a:lnTo>
                  <a:pt x="3674" y="144"/>
                </a:lnTo>
                <a:lnTo>
                  <a:pt x="3674" y="144"/>
                </a:lnTo>
                <a:lnTo>
                  <a:pt x="3672" y="164"/>
                </a:lnTo>
                <a:lnTo>
                  <a:pt x="3670" y="182"/>
                </a:lnTo>
                <a:lnTo>
                  <a:pt x="3664" y="198"/>
                </a:lnTo>
                <a:lnTo>
                  <a:pt x="3658" y="212"/>
                </a:lnTo>
                <a:lnTo>
                  <a:pt x="3650" y="226"/>
                </a:lnTo>
                <a:lnTo>
                  <a:pt x="3642" y="236"/>
                </a:lnTo>
                <a:lnTo>
                  <a:pt x="3632" y="246"/>
                </a:lnTo>
                <a:lnTo>
                  <a:pt x="3622" y="254"/>
                </a:lnTo>
                <a:lnTo>
                  <a:pt x="3604" y="266"/>
                </a:lnTo>
                <a:lnTo>
                  <a:pt x="3586" y="274"/>
                </a:lnTo>
                <a:lnTo>
                  <a:pt x="3570" y="278"/>
                </a:lnTo>
                <a:lnTo>
                  <a:pt x="3704" y="490"/>
                </a:lnTo>
                <a:lnTo>
                  <a:pt x="3436" y="490"/>
                </a:lnTo>
                <a:lnTo>
                  <a:pt x="3378" y="350"/>
                </a:lnTo>
                <a:lnTo>
                  <a:pt x="3380" y="490"/>
                </a:lnTo>
                <a:lnTo>
                  <a:pt x="3150" y="490"/>
                </a:lnTo>
                <a:lnTo>
                  <a:pt x="3150" y="0"/>
                </a:lnTo>
                <a:close/>
                <a:moveTo>
                  <a:pt x="3374" y="94"/>
                </a:moveTo>
                <a:lnTo>
                  <a:pt x="3374" y="210"/>
                </a:lnTo>
                <a:lnTo>
                  <a:pt x="3404" y="210"/>
                </a:lnTo>
                <a:lnTo>
                  <a:pt x="3404" y="210"/>
                </a:lnTo>
                <a:lnTo>
                  <a:pt x="3414" y="208"/>
                </a:lnTo>
                <a:lnTo>
                  <a:pt x="3424" y="206"/>
                </a:lnTo>
                <a:lnTo>
                  <a:pt x="3432" y="204"/>
                </a:lnTo>
                <a:lnTo>
                  <a:pt x="3438" y="200"/>
                </a:lnTo>
                <a:lnTo>
                  <a:pt x="3448" y="190"/>
                </a:lnTo>
                <a:lnTo>
                  <a:pt x="3454" y="178"/>
                </a:lnTo>
                <a:lnTo>
                  <a:pt x="3454" y="178"/>
                </a:lnTo>
                <a:lnTo>
                  <a:pt x="3456" y="168"/>
                </a:lnTo>
                <a:lnTo>
                  <a:pt x="3458" y="154"/>
                </a:lnTo>
                <a:lnTo>
                  <a:pt x="3458" y="138"/>
                </a:lnTo>
                <a:lnTo>
                  <a:pt x="3454" y="120"/>
                </a:lnTo>
                <a:lnTo>
                  <a:pt x="3454" y="120"/>
                </a:lnTo>
                <a:lnTo>
                  <a:pt x="3448" y="112"/>
                </a:lnTo>
                <a:lnTo>
                  <a:pt x="3438" y="102"/>
                </a:lnTo>
                <a:lnTo>
                  <a:pt x="3432" y="98"/>
                </a:lnTo>
                <a:lnTo>
                  <a:pt x="3424" y="96"/>
                </a:lnTo>
                <a:lnTo>
                  <a:pt x="3414" y="94"/>
                </a:lnTo>
                <a:lnTo>
                  <a:pt x="3404" y="94"/>
                </a:lnTo>
                <a:lnTo>
                  <a:pt x="3374" y="94"/>
                </a:lnTo>
                <a:close/>
                <a:moveTo>
                  <a:pt x="2595" y="0"/>
                </a:moveTo>
                <a:lnTo>
                  <a:pt x="2960" y="0"/>
                </a:lnTo>
                <a:lnTo>
                  <a:pt x="2960" y="0"/>
                </a:lnTo>
                <a:lnTo>
                  <a:pt x="2982" y="0"/>
                </a:lnTo>
                <a:lnTo>
                  <a:pt x="3000" y="4"/>
                </a:lnTo>
                <a:lnTo>
                  <a:pt x="3018" y="8"/>
                </a:lnTo>
                <a:lnTo>
                  <a:pt x="3034" y="12"/>
                </a:lnTo>
                <a:lnTo>
                  <a:pt x="3048" y="20"/>
                </a:lnTo>
                <a:lnTo>
                  <a:pt x="3060" y="28"/>
                </a:lnTo>
                <a:lnTo>
                  <a:pt x="3072" y="36"/>
                </a:lnTo>
                <a:lnTo>
                  <a:pt x="3082" y="46"/>
                </a:lnTo>
                <a:lnTo>
                  <a:pt x="3092" y="58"/>
                </a:lnTo>
                <a:lnTo>
                  <a:pt x="3098" y="70"/>
                </a:lnTo>
                <a:lnTo>
                  <a:pt x="3106" y="80"/>
                </a:lnTo>
                <a:lnTo>
                  <a:pt x="3110" y="94"/>
                </a:lnTo>
                <a:lnTo>
                  <a:pt x="3116" y="118"/>
                </a:lnTo>
                <a:lnTo>
                  <a:pt x="3118" y="144"/>
                </a:lnTo>
                <a:lnTo>
                  <a:pt x="3118" y="144"/>
                </a:lnTo>
                <a:lnTo>
                  <a:pt x="3118" y="164"/>
                </a:lnTo>
                <a:lnTo>
                  <a:pt x="3114" y="182"/>
                </a:lnTo>
                <a:lnTo>
                  <a:pt x="3110" y="198"/>
                </a:lnTo>
                <a:lnTo>
                  <a:pt x="3102" y="212"/>
                </a:lnTo>
                <a:lnTo>
                  <a:pt x="3094" y="226"/>
                </a:lnTo>
                <a:lnTo>
                  <a:pt x="3086" y="236"/>
                </a:lnTo>
                <a:lnTo>
                  <a:pt x="3076" y="246"/>
                </a:lnTo>
                <a:lnTo>
                  <a:pt x="3068" y="254"/>
                </a:lnTo>
                <a:lnTo>
                  <a:pt x="3048" y="266"/>
                </a:lnTo>
                <a:lnTo>
                  <a:pt x="3032" y="274"/>
                </a:lnTo>
                <a:lnTo>
                  <a:pt x="3016" y="278"/>
                </a:lnTo>
                <a:lnTo>
                  <a:pt x="3148" y="490"/>
                </a:lnTo>
                <a:lnTo>
                  <a:pt x="2882" y="490"/>
                </a:lnTo>
                <a:lnTo>
                  <a:pt x="2824" y="350"/>
                </a:lnTo>
                <a:lnTo>
                  <a:pt x="2824" y="490"/>
                </a:lnTo>
                <a:lnTo>
                  <a:pt x="2595" y="490"/>
                </a:lnTo>
                <a:lnTo>
                  <a:pt x="2595" y="0"/>
                </a:lnTo>
                <a:close/>
                <a:moveTo>
                  <a:pt x="2820" y="94"/>
                </a:moveTo>
                <a:lnTo>
                  <a:pt x="2820" y="210"/>
                </a:lnTo>
                <a:lnTo>
                  <a:pt x="2848" y="210"/>
                </a:lnTo>
                <a:lnTo>
                  <a:pt x="2848" y="210"/>
                </a:lnTo>
                <a:lnTo>
                  <a:pt x="2860" y="208"/>
                </a:lnTo>
                <a:lnTo>
                  <a:pt x="2868" y="206"/>
                </a:lnTo>
                <a:lnTo>
                  <a:pt x="2876" y="204"/>
                </a:lnTo>
                <a:lnTo>
                  <a:pt x="2882" y="200"/>
                </a:lnTo>
                <a:lnTo>
                  <a:pt x="2892" y="190"/>
                </a:lnTo>
                <a:lnTo>
                  <a:pt x="2898" y="178"/>
                </a:lnTo>
                <a:lnTo>
                  <a:pt x="2898" y="178"/>
                </a:lnTo>
                <a:lnTo>
                  <a:pt x="2902" y="168"/>
                </a:lnTo>
                <a:lnTo>
                  <a:pt x="2904" y="154"/>
                </a:lnTo>
                <a:lnTo>
                  <a:pt x="2902" y="138"/>
                </a:lnTo>
                <a:lnTo>
                  <a:pt x="2898" y="120"/>
                </a:lnTo>
                <a:lnTo>
                  <a:pt x="2898" y="120"/>
                </a:lnTo>
                <a:lnTo>
                  <a:pt x="2892" y="112"/>
                </a:lnTo>
                <a:lnTo>
                  <a:pt x="2884" y="102"/>
                </a:lnTo>
                <a:lnTo>
                  <a:pt x="2878" y="98"/>
                </a:lnTo>
                <a:lnTo>
                  <a:pt x="2870" y="96"/>
                </a:lnTo>
                <a:lnTo>
                  <a:pt x="2860" y="94"/>
                </a:lnTo>
                <a:lnTo>
                  <a:pt x="2848" y="94"/>
                </a:lnTo>
                <a:lnTo>
                  <a:pt x="2820" y="94"/>
                </a:lnTo>
                <a:close/>
                <a:moveTo>
                  <a:pt x="350" y="490"/>
                </a:moveTo>
                <a:lnTo>
                  <a:pt x="350" y="354"/>
                </a:lnTo>
                <a:lnTo>
                  <a:pt x="244" y="354"/>
                </a:lnTo>
                <a:lnTo>
                  <a:pt x="244" y="0"/>
                </a:lnTo>
                <a:lnTo>
                  <a:pt x="0" y="0"/>
                </a:lnTo>
                <a:lnTo>
                  <a:pt x="0" y="490"/>
                </a:lnTo>
                <a:lnTo>
                  <a:pt x="350" y="490"/>
                </a:lnTo>
                <a:close/>
                <a:moveTo>
                  <a:pt x="386" y="0"/>
                </a:moveTo>
                <a:lnTo>
                  <a:pt x="624" y="0"/>
                </a:lnTo>
                <a:lnTo>
                  <a:pt x="624" y="490"/>
                </a:lnTo>
                <a:lnTo>
                  <a:pt x="386" y="490"/>
                </a:lnTo>
                <a:lnTo>
                  <a:pt x="386" y="0"/>
                </a:lnTo>
                <a:close/>
                <a:moveTo>
                  <a:pt x="1015" y="490"/>
                </a:moveTo>
                <a:lnTo>
                  <a:pt x="1015" y="378"/>
                </a:lnTo>
                <a:lnTo>
                  <a:pt x="908" y="378"/>
                </a:lnTo>
                <a:lnTo>
                  <a:pt x="908" y="288"/>
                </a:lnTo>
                <a:lnTo>
                  <a:pt x="1013" y="288"/>
                </a:lnTo>
                <a:lnTo>
                  <a:pt x="1013" y="190"/>
                </a:lnTo>
                <a:lnTo>
                  <a:pt x="908" y="190"/>
                </a:lnTo>
                <a:lnTo>
                  <a:pt x="908" y="96"/>
                </a:lnTo>
                <a:lnTo>
                  <a:pt x="1015" y="96"/>
                </a:lnTo>
                <a:lnTo>
                  <a:pt x="1015" y="0"/>
                </a:lnTo>
                <a:lnTo>
                  <a:pt x="666" y="0"/>
                </a:lnTo>
                <a:lnTo>
                  <a:pt x="666" y="490"/>
                </a:lnTo>
                <a:lnTo>
                  <a:pt x="1015" y="490"/>
                </a:lnTo>
                <a:close/>
                <a:moveTo>
                  <a:pt x="1929" y="490"/>
                </a:moveTo>
                <a:lnTo>
                  <a:pt x="2171" y="490"/>
                </a:lnTo>
                <a:lnTo>
                  <a:pt x="2171" y="0"/>
                </a:lnTo>
                <a:lnTo>
                  <a:pt x="1929" y="0"/>
                </a:lnTo>
                <a:lnTo>
                  <a:pt x="1929" y="186"/>
                </a:lnTo>
                <a:lnTo>
                  <a:pt x="1851" y="186"/>
                </a:lnTo>
                <a:lnTo>
                  <a:pt x="1851" y="0"/>
                </a:lnTo>
                <a:lnTo>
                  <a:pt x="1603" y="0"/>
                </a:lnTo>
                <a:lnTo>
                  <a:pt x="1603" y="490"/>
                </a:lnTo>
                <a:lnTo>
                  <a:pt x="1851" y="490"/>
                </a:lnTo>
                <a:lnTo>
                  <a:pt x="1851" y="284"/>
                </a:lnTo>
                <a:lnTo>
                  <a:pt x="1929" y="284"/>
                </a:lnTo>
                <a:lnTo>
                  <a:pt x="1929" y="490"/>
                </a:lnTo>
                <a:close/>
                <a:moveTo>
                  <a:pt x="2561" y="490"/>
                </a:moveTo>
                <a:lnTo>
                  <a:pt x="2561" y="378"/>
                </a:lnTo>
                <a:lnTo>
                  <a:pt x="2455" y="378"/>
                </a:lnTo>
                <a:lnTo>
                  <a:pt x="2455" y="288"/>
                </a:lnTo>
                <a:lnTo>
                  <a:pt x="2561" y="288"/>
                </a:lnTo>
                <a:lnTo>
                  <a:pt x="2561" y="190"/>
                </a:lnTo>
                <a:lnTo>
                  <a:pt x="2455" y="190"/>
                </a:lnTo>
                <a:lnTo>
                  <a:pt x="2455" y="96"/>
                </a:lnTo>
                <a:lnTo>
                  <a:pt x="2561" y="96"/>
                </a:lnTo>
                <a:lnTo>
                  <a:pt x="2561" y="0"/>
                </a:lnTo>
                <a:lnTo>
                  <a:pt x="2213" y="0"/>
                </a:lnTo>
                <a:lnTo>
                  <a:pt x="2213" y="490"/>
                </a:lnTo>
                <a:lnTo>
                  <a:pt x="2561" y="490"/>
                </a:lnTo>
                <a:close/>
                <a:moveTo>
                  <a:pt x="1047" y="0"/>
                </a:moveTo>
                <a:lnTo>
                  <a:pt x="1047" y="0"/>
                </a:lnTo>
                <a:lnTo>
                  <a:pt x="1437" y="0"/>
                </a:lnTo>
                <a:lnTo>
                  <a:pt x="1437" y="0"/>
                </a:lnTo>
                <a:lnTo>
                  <a:pt x="1457" y="0"/>
                </a:lnTo>
                <a:lnTo>
                  <a:pt x="1475" y="4"/>
                </a:lnTo>
                <a:lnTo>
                  <a:pt x="1491" y="8"/>
                </a:lnTo>
                <a:lnTo>
                  <a:pt x="1505" y="14"/>
                </a:lnTo>
                <a:lnTo>
                  <a:pt x="1517" y="20"/>
                </a:lnTo>
                <a:lnTo>
                  <a:pt x="1527" y="28"/>
                </a:lnTo>
                <a:lnTo>
                  <a:pt x="1537" y="36"/>
                </a:lnTo>
                <a:lnTo>
                  <a:pt x="1545" y="46"/>
                </a:lnTo>
                <a:lnTo>
                  <a:pt x="1553" y="56"/>
                </a:lnTo>
                <a:lnTo>
                  <a:pt x="1559" y="68"/>
                </a:lnTo>
                <a:lnTo>
                  <a:pt x="1567" y="88"/>
                </a:lnTo>
                <a:lnTo>
                  <a:pt x="1571" y="110"/>
                </a:lnTo>
                <a:lnTo>
                  <a:pt x="1573" y="130"/>
                </a:lnTo>
                <a:lnTo>
                  <a:pt x="1573" y="130"/>
                </a:lnTo>
                <a:lnTo>
                  <a:pt x="1571" y="144"/>
                </a:lnTo>
                <a:lnTo>
                  <a:pt x="1569" y="158"/>
                </a:lnTo>
                <a:lnTo>
                  <a:pt x="1567" y="172"/>
                </a:lnTo>
                <a:lnTo>
                  <a:pt x="1563" y="182"/>
                </a:lnTo>
                <a:lnTo>
                  <a:pt x="1553" y="202"/>
                </a:lnTo>
                <a:lnTo>
                  <a:pt x="1543" y="216"/>
                </a:lnTo>
                <a:lnTo>
                  <a:pt x="1531" y="226"/>
                </a:lnTo>
                <a:lnTo>
                  <a:pt x="1521" y="232"/>
                </a:lnTo>
                <a:lnTo>
                  <a:pt x="1511" y="236"/>
                </a:lnTo>
                <a:lnTo>
                  <a:pt x="1511" y="236"/>
                </a:lnTo>
                <a:lnTo>
                  <a:pt x="1523" y="242"/>
                </a:lnTo>
                <a:lnTo>
                  <a:pt x="1533" y="250"/>
                </a:lnTo>
                <a:lnTo>
                  <a:pt x="1545" y="260"/>
                </a:lnTo>
                <a:lnTo>
                  <a:pt x="1557" y="276"/>
                </a:lnTo>
                <a:lnTo>
                  <a:pt x="1567" y="296"/>
                </a:lnTo>
                <a:lnTo>
                  <a:pt x="1571" y="308"/>
                </a:lnTo>
                <a:lnTo>
                  <a:pt x="1575" y="322"/>
                </a:lnTo>
                <a:lnTo>
                  <a:pt x="1577" y="336"/>
                </a:lnTo>
                <a:lnTo>
                  <a:pt x="1577" y="354"/>
                </a:lnTo>
                <a:lnTo>
                  <a:pt x="1577" y="354"/>
                </a:lnTo>
                <a:lnTo>
                  <a:pt x="1575" y="378"/>
                </a:lnTo>
                <a:lnTo>
                  <a:pt x="1571" y="400"/>
                </a:lnTo>
                <a:lnTo>
                  <a:pt x="1565" y="418"/>
                </a:lnTo>
                <a:lnTo>
                  <a:pt x="1557" y="434"/>
                </a:lnTo>
                <a:lnTo>
                  <a:pt x="1545" y="448"/>
                </a:lnTo>
                <a:lnTo>
                  <a:pt x="1535" y="460"/>
                </a:lnTo>
                <a:lnTo>
                  <a:pt x="1521" y="468"/>
                </a:lnTo>
                <a:lnTo>
                  <a:pt x="1509" y="476"/>
                </a:lnTo>
                <a:lnTo>
                  <a:pt x="1495" y="480"/>
                </a:lnTo>
                <a:lnTo>
                  <a:pt x="1483" y="484"/>
                </a:lnTo>
                <a:lnTo>
                  <a:pt x="1457" y="488"/>
                </a:lnTo>
                <a:lnTo>
                  <a:pt x="1437" y="490"/>
                </a:lnTo>
                <a:lnTo>
                  <a:pt x="1425" y="490"/>
                </a:lnTo>
                <a:lnTo>
                  <a:pt x="1047" y="490"/>
                </a:lnTo>
                <a:lnTo>
                  <a:pt x="1047" y="0"/>
                </a:lnTo>
                <a:close/>
                <a:moveTo>
                  <a:pt x="1281" y="94"/>
                </a:moveTo>
                <a:lnTo>
                  <a:pt x="1281" y="186"/>
                </a:lnTo>
                <a:lnTo>
                  <a:pt x="1313" y="186"/>
                </a:lnTo>
                <a:lnTo>
                  <a:pt x="1313" y="186"/>
                </a:lnTo>
                <a:lnTo>
                  <a:pt x="1325" y="184"/>
                </a:lnTo>
                <a:lnTo>
                  <a:pt x="1335" y="180"/>
                </a:lnTo>
                <a:lnTo>
                  <a:pt x="1343" y="172"/>
                </a:lnTo>
                <a:lnTo>
                  <a:pt x="1349" y="162"/>
                </a:lnTo>
                <a:lnTo>
                  <a:pt x="1349" y="162"/>
                </a:lnTo>
                <a:lnTo>
                  <a:pt x="1353" y="154"/>
                </a:lnTo>
                <a:lnTo>
                  <a:pt x="1355" y="142"/>
                </a:lnTo>
                <a:lnTo>
                  <a:pt x="1353" y="130"/>
                </a:lnTo>
                <a:lnTo>
                  <a:pt x="1349" y="116"/>
                </a:lnTo>
                <a:lnTo>
                  <a:pt x="1349" y="116"/>
                </a:lnTo>
                <a:lnTo>
                  <a:pt x="1345" y="108"/>
                </a:lnTo>
                <a:lnTo>
                  <a:pt x="1339" y="102"/>
                </a:lnTo>
                <a:lnTo>
                  <a:pt x="1335" y="98"/>
                </a:lnTo>
                <a:lnTo>
                  <a:pt x="1329" y="96"/>
                </a:lnTo>
                <a:lnTo>
                  <a:pt x="1319" y="94"/>
                </a:lnTo>
                <a:lnTo>
                  <a:pt x="1313" y="94"/>
                </a:lnTo>
                <a:lnTo>
                  <a:pt x="1281" y="94"/>
                </a:lnTo>
                <a:close/>
                <a:moveTo>
                  <a:pt x="1279" y="292"/>
                </a:moveTo>
                <a:lnTo>
                  <a:pt x="1279" y="392"/>
                </a:lnTo>
                <a:lnTo>
                  <a:pt x="1313" y="392"/>
                </a:lnTo>
                <a:lnTo>
                  <a:pt x="1313" y="392"/>
                </a:lnTo>
                <a:lnTo>
                  <a:pt x="1327" y="390"/>
                </a:lnTo>
                <a:lnTo>
                  <a:pt x="1339" y="384"/>
                </a:lnTo>
                <a:lnTo>
                  <a:pt x="1349" y="376"/>
                </a:lnTo>
                <a:lnTo>
                  <a:pt x="1355" y="366"/>
                </a:lnTo>
                <a:lnTo>
                  <a:pt x="1355" y="366"/>
                </a:lnTo>
                <a:lnTo>
                  <a:pt x="1359" y="356"/>
                </a:lnTo>
                <a:lnTo>
                  <a:pt x="1361" y="344"/>
                </a:lnTo>
                <a:lnTo>
                  <a:pt x="1359" y="330"/>
                </a:lnTo>
                <a:lnTo>
                  <a:pt x="1355" y="316"/>
                </a:lnTo>
                <a:lnTo>
                  <a:pt x="1355" y="316"/>
                </a:lnTo>
                <a:lnTo>
                  <a:pt x="1349" y="306"/>
                </a:lnTo>
                <a:lnTo>
                  <a:pt x="1343" y="300"/>
                </a:lnTo>
                <a:lnTo>
                  <a:pt x="1337" y="296"/>
                </a:lnTo>
                <a:lnTo>
                  <a:pt x="1331" y="294"/>
                </a:lnTo>
                <a:lnTo>
                  <a:pt x="1319" y="292"/>
                </a:lnTo>
                <a:lnTo>
                  <a:pt x="1313" y="292"/>
                </a:lnTo>
                <a:lnTo>
                  <a:pt x="1279" y="2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0686971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723899" y="1617663"/>
            <a:ext cx="10744202" cy="4624388"/>
          </a:xfrm>
          <a:prstGeom prst="rect">
            <a:avLst/>
          </a:prstGeom>
        </p:spPr>
        <p:txBody>
          <a:bodyPr>
            <a:noAutofit/>
          </a:bodyPr>
          <a:lstStyle>
            <a:lvl1pPr marL="288000">
              <a:defRPr baseline="0"/>
            </a:lvl1pPr>
          </a:lstStyle>
          <a:p>
            <a:pPr lvl="0"/>
            <a:r>
              <a:rPr lang="de-DE" noProof="0"/>
              <a:t>Nutzen Sie diesen Platzhalter um einen Text einzugeben oder alternativ durch Klicken auf einer der Symbole die gewünschten Inhalte einzufügen. 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23899" y="384175"/>
            <a:ext cx="10744202" cy="233363"/>
          </a:xfrm>
          <a:prstGeom prst="rect">
            <a:avLst/>
          </a:prstGeom>
          <a:noFill/>
        </p:spPr>
        <p:txBody>
          <a:bodyPr anchor="ctr">
            <a:noAutofit/>
          </a:bodyPr>
          <a:lstStyle>
            <a:lvl1pPr marL="0" indent="0">
              <a:buFontTx/>
              <a:buNone/>
              <a:defRPr sz="1800" baseline="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Hier können Sie der Folie einen Zusatztitel geben.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11" name="Rectangle 10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85536837-CD27-4871-9D2D-B24F85153BF6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2433240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4"/>
          <p:cNvSpPr>
            <a:spLocks noGrp="1"/>
          </p:cNvSpPr>
          <p:nvPr>
            <p:ph sz="quarter" idx="11" hasCustomPrompt="1"/>
          </p:nvPr>
        </p:nvSpPr>
        <p:spPr>
          <a:xfrm>
            <a:off x="6240015" y="1617663"/>
            <a:ext cx="5228086" cy="4624388"/>
          </a:xfrm>
        </p:spPr>
        <p:txBody>
          <a:bodyPr/>
          <a:lstStyle>
            <a:lvl1pPr marL="288000">
              <a:defRPr/>
            </a:lvl1pPr>
          </a:lstStyle>
          <a:p>
            <a:pPr lvl="0"/>
            <a:r>
              <a:rPr lang="de-DE" dirty="0"/>
              <a:t>Nutzen Sie diesen Platzhalter um einen Text einzugeben oder alternativ durch Klicken auf einer der Symbole die gewünschten Inhalte einzufüge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sz="half" idx="1" hasCustomPrompt="1"/>
          </p:nvPr>
        </p:nvSpPr>
        <p:spPr>
          <a:xfrm>
            <a:off x="723899" y="1617663"/>
            <a:ext cx="5191125" cy="4624388"/>
          </a:xfrm>
          <a:prstGeom prst="rect">
            <a:avLst/>
          </a:prstGeom>
        </p:spPr>
        <p:txBody>
          <a:bodyPr/>
          <a:lstStyle>
            <a:lvl1pPr marL="288000">
              <a:defRPr/>
            </a:lvl1pPr>
          </a:lstStyle>
          <a:p>
            <a:pPr lvl="0"/>
            <a:r>
              <a:rPr lang="de-DE" dirty="0"/>
              <a:t>Nutzen Sie diesen Platzhalter um einen Text einzugeben oder alternativ durch Klicken auf einer der Symbole die gewünschten Inhalte einzufüge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23899" y="384175"/>
            <a:ext cx="10744202" cy="2333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Hier können Sie der Folie einen Zusatztitel geben.</a:t>
            </a:r>
          </a:p>
        </p:txBody>
      </p:sp>
      <p:sp>
        <p:nvSpPr>
          <p:cNvPr id="5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B42D8DA0-AB3B-4032-A1CE-39F5F6F12BF0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7237120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>
        <p15:guide id="1" pos="3726">
          <p15:clr>
            <a:srgbClr val="9FCC3B"/>
          </p15:clr>
        </p15:guide>
        <p15:guide id="2" pos="3930">
          <p15:clr>
            <a:srgbClr val="9FCC3B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4"/>
          <p:cNvSpPr>
            <a:spLocks noGrp="1"/>
          </p:cNvSpPr>
          <p:nvPr>
            <p:ph sz="quarter" idx="4" hasCustomPrompt="1"/>
          </p:nvPr>
        </p:nvSpPr>
        <p:spPr>
          <a:xfrm>
            <a:off x="6240015" y="2081186"/>
            <a:ext cx="5228086" cy="4160864"/>
          </a:xfrm>
        </p:spPr>
        <p:txBody>
          <a:bodyPr/>
          <a:lstStyle>
            <a:lvl1pPr marL="288000">
              <a:defRPr/>
            </a:lvl1pPr>
          </a:lstStyle>
          <a:p>
            <a:pPr lvl="0"/>
            <a:r>
              <a:rPr lang="de-DE" dirty="0"/>
              <a:t>Nutzen Sie diesen Platzhalter um einen Text einzugeben oder alternativ durch Klicken auf einer der Symbole die gewünschten Inhalte einzufüge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6240015" y="1617663"/>
            <a:ext cx="5228086" cy="371177"/>
          </a:xfrm>
        </p:spPr>
        <p:txBody>
          <a:bodyPr bIns="54000" anchor="b"/>
          <a:lstStyle>
            <a:lvl1pPr marL="0" indent="0">
              <a:buNone/>
              <a:defRPr sz="1800" b="1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  <a:lvl6pPr marL="2286000" indent="0">
              <a:buNone/>
              <a:defRPr sz="1800" b="1"/>
            </a:lvl6pPr>
            <a:lvl7pPr marL="2743200" indent="0">
              <a:buNone/>
              <a:defRPr sz="1800" b="1"/>
            </a:lvl7pPr>
            <a:lvl8pPr marL="3200400" indent="0">
              <a:buNone/>
              <a:defRPr sz="1800" b="1"/>
            </a:lvl8pPr>
            <a:lvl9pPr marL="3657600" indent="0">
              <a:buNone/>
              <a:defRPr sz="1800" b="1"/>
            </a:lvl9pPr>
          </a:lstStyle>
          <a:p>
            <a:pPr lvl="0"/>
            <a:r>
              <a:rPr lang="de-DE" dirty="0"/>
              <a:t>Fügen Sie hier eine Überschrift ein. 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23899" y="2081186"/>
            <a:ext cx="5191125" cy="4160864"/>
          </a:xfrm>
        </p:spPr>
        <p:txBody>
          <a:bodyPr/>
          <a:lstStyle>
            <a:lvl1pPr marL="288000">
              <a:defRPr/>
            </a:lvl1pPr>
          </a:lstStyle>
          <a:p>
            <a:pPr lvl="0"/>
            <a:r>
              <a:rPr lang="de-DE" dirty="0"/>
              <a:t>Nutzen Sie diesen Platzhalter um einen Text einzugeben oder alternativ durch Klicken auf einer der Symbole die gewünschten Inhalte einzufüge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3" name="Textplatzhalter 3"/>
          <p:cNvSpPr>
            <a:spLocks noGrp="1"/>
          </p:cNvSpPr>
          <p:nvPr>
            <p:ph type="body" idx="1" hasCustomPrompt="1"/>
          </p:nvPr>
        </p:nvSpPr>
        <p:spPr>
          <a:xfrm>
            <a:off x="723899" y="1617663"/>
            <a:ext cx="5191125" cy="371177"/>
          </a:xfrm>
        </p:spPr>
        <p:txBody>
          <a:bodyPr bIns="54000" anchor="b"/>
          <a:lstStyle>
            <a:lvl1pPr marL="0" indent="0">
              <a:buNone/>
              <a:defRPr sz="1800" b="1" baseline="0"/>
            </a:lvl1pPr>
            <a:lvl2pPr marL="457200" indent="0">
              <a:buNone/>
              <a:defRPr sz="18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800" b="1"/>
            </a:lvl4pPr>
            <a:lvl5pPr marL="1828800" indent="0">
              <a:buNone/>
              <a:defRPr sz="1800" b="1"/>
            </a:lvl5pPr>
            <a:lvl6pPr marL="2286000" indent="0">
              <a:buNone/>
              <a:defRPr sz="1800" b="1"/>
            </a:lvl6pPr>
            <a:lvl7pPr marL="2743200" indent="0">
              <a:buNone/>
              <a:defRPr sz="1800" b="1"/>
            </a:lvl7pPr>
            <a:lvl8pPr marL="3200400" indent="0">
              <a:buNone/>
              <a:defRPr sz="1800" b="1"/>
            </a:lvl8pPr>
            <a:lvl9pPr marL="3657600" indent="0">
              <a:buNone/>
              <a:defRPr sz="1800" b="1"/>
            </a:lvl9pPr>
          </a:lstStyle>
          <a:p>
            <a:pPr lvl="0"/>
            <a:r>
              <a:rPr lang="de-DE" dirty="0"/>
              <a:t>Fügen Sie hier eine Überschrift ein. 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723899" y="384175"/>
            <a:ext cx="10744202" cy="2333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Hier können Sie der Folie einen Zusatztitel geben.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14" name="Rectangle 13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8EA00D30-C980-4CF8-B6CB-D593D8FFCA80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5319268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>
        <p15:guide id="1" orient="horz" pos="1310">
          <p15:clr>
            <a:srgbClr val="9FCC3B"/>
          </p15:clr>
        </p15:guide>
        <p15:guide id="2" pos="3726">
          <p15:clr>
            <a:srgbClr val="9FCC3B"/>
          </p15:clr>
        </p15:guide>
        <p15:guide id="3" pos="3930">
          <p15:clr>
            <a:srgbClr val="9FCC3B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 hasCustomPrompt="1"/>
          </p:nvPr>
        </p:nvSpPr>
        <p:spPr>
          <a:xfrm>
            <a:off x="722313" y="1617663"/>
            <a:ext cx="10748962" cy="46259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baseline="0"/>
            </a:lvl1pPr>
          </a:lstStyle>
          <a:p>
            <a:pPr marL="288000" marR="0" lvl="0" indent="-288000" algn="l" defTabSz="914400" rtl="0" eaLnBrk="1" fontAlgn="base" latinLnBrk="0" hangingPunct="1">
              <a:lnSpc>
                <a:spcPts val="19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lang="de-DE" dirty="0"/>
              <a:t>Nutzen Sie diesen Platzhalter um eine Tabelle einzufügen</a:t>
            </a:r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3899" y="384175"/>
            <a:ext cx="10744202" cy="2333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Hier können Sie der Folie einen Zusatztitel geb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5B477503-50D4-40C8-A834-947A79A36A9D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6137619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 noProof="0" dirty="0"/>
              <a:t>Titel durch Klicken hinzufüge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 hasCustomPrompt="1"/>
          </p:nvPr>
        </p:nvSpPr>
        <p:spPr>
          <a:xfrm>
            <a:off x="722313" y="1617663"/>
            <a:ext cx="10748962" cy="46259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baseline="0"/>
            </a:lvl1pPr>
          </a:lstStyle>
          <a:p>
            <a:pPr marL="288000" marR="0" lvl="0" indent="-288000" algn="l" defTabSz="914400" rtl="0" eaLnBrk="1" fontAlgn="base" latinLnBrk="0" hangingPunct="1">
              <a:lnSpc>
                <a:spcPts val="19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Blip>
                <a:blip r:embed="rId3"/>
              </a:buBlip>
              <a:tabLst/>
              <a:defRPr/>
            </a:pPr>
            <a:r>
              <a:rPr lang="de-DE" dirty="0"/>
              <a:t>Nutzen Sie diesen Platzhalter um ein Diagramm einzufügen</a:t>
            </a:r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Textplatzhalter 2"/>
          <p:cNvSpPr>
            <a:spLocks noGrp="1"/>
          </p:cNvSpPr>
          <p:nvPr>
            <p:ph type="body" sz="quarter" idx="14" hasCustomPrompt="1"/>
          </p:nvPr>
        </p:nvSpPr>
        <p:spPr>
          <a:xfrm>
            <a:off x="723899" y="384175"/>
            <a:ext cx="10744202" cy="2333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Hier können Sie der Folie einen Zusatztitel geb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7FD6E98A-D808-4F5C-87C2-28AAAFA85021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21093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723899" y="1617663"/>
            <a:ext cx="10744202" cy="4624388"/>
          </a:xfrm>
          <a:pattFill prst="ltUpDiag">
            <a:fgClr>
              <a:schemeClr val="accent1"/>
            </a:fgClr>
            <a:bgClr>
              <a:schemeClr val="bg1"/>
            </a:bgClr>
          </a:pattFill>
          <a:ln w="3175">
            <a:solidFill>
              <a:schemeClr val="bg1"/>
            </a:solidFill>
          </a:ln>
        </p:spPr>
        <p:txBody>
          <a:bodyPr tIns="684000" anchor="ctr" anchorCtr="0"/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723899" y="384175"/>
            <a:ext cx="10744202" cy="2333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Hier können Sie der Folie einen Zusatztitel geben.</a:t>
            </a:r>
          </a:p>
        </p:txBody>
      </p:sp>
      <p:sp>
        <p:nvSpPr>
          <p:cNvPr id="3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8" name="Rectangle 7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A8665CA4-724D-40B4-AD2F-1E3FB6F0B783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34311680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ild mit 2/3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457826" y="1617663"/>
            <a:ext cx="6010275" cy="4624388"/>
          </a:xfrm>
          <a:prstGeom prst="rect">
            <a:avLst/>
          </a:prstGeom>
        </p:spPr>
        <p:txBody>
          <a:bodyPr/>
          <a:lstStyle>
            <a:lvl1pPr marL="288000">
              <a:defRPr/>
            </a:lvl1pPr>
          </a:lstStyle>
          <a:p>
            <a:pPr lvl="0"/>
            <a:r>
              <a:rPr lang="de-DE" dirty="0"/>
              <a:t>Nutzen Sie diesen Platzhalter um einen Text oder eine Bildbeschreibung einzufügen.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>
          <a:xfrm>
            <a:off x="0" y="1617663"/>
            <a:ext cx="5018088" cy="4624388"/>
          </a:xfrm>
          <a:prstGeom prst="rect">
            <a:avLst/>
          </a:prstGeom>
          <a:pattFill prst="ltUpDiag">
            <a:fgClr>
              <a:schemeClr val="accent1"/>
            </a:fgClr>
            <a:bgClr>
              <a:schemeClr val="bg1"/>
            </a:bgClr>
          </a:pattFill>
          <a:ln w="3175">
            <a:solidFill>
              <a:schemeClr val="bg1"/>
            </a:solidFill>
          </a:ln>
        </p:spPr>
        <p:txBody>
          <a:bodyPr tIns="684000" anchor="ctr"/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23899" y="384175"/>
            <a:ext cx="10744202" cy="2333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sz="18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lvl="0"/>
            <a:r>
              <a:rPr lang="de-DE" dirty="0"/>
              <a:t>Hier können Sie der Folie einen Zusatztitel geben.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hinzufügen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‹#›</a:t>
            </a:fld>
            <a:endParaRPr lang="en-US" dirty="0"/>
          </a:p>
        </p:txBody>
      </p:sp>
      <p:sp>
        <p:nvSpPr>
          <p:cNvPr id="9" name="Rectangle 8" hidden="1"/>
          <p:cNvSpPr/>
          <p:nvPr userDrawn="1">
            <p:custDataLst>
              <p:tags r:id="rId1"/>
            </p:custDataLst>
          </p:nvPr>
        </p:nvSpPr>
        <p:spPr>
          <a:xfrm>
            <a:off x="9895470" y="6309320"/>
            <a:ext cx="1656184" cy="432048"/>
          </a:xfrm>
          <a:prstGeom prst="rect">
            <a:avLst/>
          </a:prstGeom>
          <a:solidFill>
            <a:srgbClr val="C2C0BC">
              <a:alpha val="3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E3517C0D-8882-4A29-863B-0638EC18F880}" type="datetime1">
              <a:rPr lang="de-DE" smtClean="0"/>
              <a:t>20.02.20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1787518"/>
      </p:ext>
    </p:extLst>
  </p:cSld>
  <p:clrMapOvr>
    <a:masterClrMapping/>
  </p:clrMapOvr>
  <p:transition/>
  <p:extLst mod="1">
    <p:ext uri="{DCECCB84-F9BA-43D5-87BE-67443E8EF086}">
      <p15:sldGuideLst xmlns="" xmlns:p15="http://schemas.microsoft.com/office/powerpoint/2012/main">
        <p15:guide id="1" pos="3162">
          <p15:clr>
            <a:srgbClr val="9FCC3B"/>
          </p15:clr>
        </p15:guide>
        <p15:guide id="2" pos="3438">
          <p15:clr>
            <a:srgbClr val="9FCC3B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idx="1"/>
            <p:custDataLst>
              <p:tags r:id="rId17"/>
            </p:custDataLst>
          </p:nvPr>
        </p:nvSpPr>
        <p:spPr>
          <a:xfrm>
            <a:off x="723899" y="1617663"/>
            <a:ext cx="10744202" cy="46243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6" name="Straight Connector 8"/>
          <p:cNvCxnSpPr/>
          <p:nvPr/>
        </p:nvCxnSpPr>
        <p:spPr>
          <a:xfrm>
            <a:off x="470160" y="244621"/>
            <a:ext cx="0" cy="756000"/>
          </a:xfrm>
          <a:prstGeom prst="line">
            <a:avLst/>
          </a:prstGeom>
          <a:ln w="10080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3899" y="693264"/>
            <a:ext cx="10744202" cy="3877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>
          <a:xfrm>
            <a:off x="723899" y="6429911"/>
            <a:ext cx="517196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l">
              <a:buFontTx/>
              <a:buNone/>
              <a:defRPr sz="1200">
                <a:solidFill>
                  <a:schemeClr val="tx2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fld id="{9E363D0F-E4C1-447A-8914-061620C3DD6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>
          <a:xfrm>
            <a:off x="1314474" y="6429911"/>
            <a:ext cx="7013774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l">
              <a:buFontTx/>
              <a:buNone/>
              <a:defRPr sz="1200">
                <a:solidFill>
                  <a:srgbClr val="7F7F7F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8400256" y="6429911"/>
            <a:ext cx="1303040" cy="184666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171450" indent="-171450" algn="r">
              <a:buFontTx/>
              <a:buNone/>
              <a:defRPr sz="1200">
                <a:solidFill>
                  <a:schemeClr val="tx2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</a:lstStyle>
          <a:p>
            <a:pPr marL="0" indent="0"/>
            <a:fld id="{A85045A8-A487-4502-A65F-910C0A7A0374}" type="datetime1">
              <a:rPr lang="de-DE" smtClean="0"/>
              <a:t>20.02.2018</a:t>
            </a:fld>
            <a:endParaRPr lang="de-DE" dirty="0"/>
          </a:p>
        </p:txBody>
      </p:sp>
      <p:sp>
        <p:nvSpPr>
          <p:cNvPr id="9" name="empower - DO NOT DELETE!!!" hidden="1"/>
          <p:cNvSpPr/>
          <p:nvPr>
            <p:custDataLst>
              <p:tags r:id="rId18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buFontTx/>
              <a:buNone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Freeform 5"/>
          <p:cNvSpPr>
            <a:spLocks noEditPoints="1"/>
          </p:cNvSpPr>
          <p:nvPr/>
        </p:nvSpPr>
        <p:spPr bwMode="auto">
          <a:xfrm>
            <a:off x="9961235" y="6422232"/>
            <a:ext cx="1505924" cy="201600"/>
          </a:xfrm>
          <a:custGeom>
            <a:avLst/>
            <a:gdLst>
              <a:gd name="T0" fmla="*/ 3556 w 3704"/>
              <a:gd name="T1" fmla="*/ 4 h 490"/>
              <a:gd name="T2" fmla="*/ 3628 w 3704"/>
              <a:gd name="T3" fmla="*/ 36 h 490"/>
              <a:gd name="T4" fmla="*/ 3664 w 3704"/>
              <a:gd name="T5" fmla="*/ 94 h 490"/>
              <a:gd name="T6" fmla="*/ 3670 w 3704"/>
              <a:gd name="T7" fmla="*/ 182 h 490"/>
              <a:gd name="T8" fmla="*/ 3632 w 3704"/>
              <a:gd name="T9" fmla="*/ 246 h 490"/>
              <a:gd name="T10" fmla="*/ 3704 w 3704"/>
              <a:gd name="T11" fmla="*/ 490 h 490"/>
              <a:gd name="T12" fmla="*/ 3150 w 3704"/>
              <a:gd name="T13" fmla="*/ 0 h 490"/>
              <a:gd name="T14" fmla="*/ 3414 w 3704"/>
              <a:gd name="T15" fmla="*/ 208 h 490"/>
              <a:gd name="T16" fmla="*/ 3454 w 3704"/>
              <a:gd name="T17" fmla="*/ 178 h 490"/>
              <a:gd name="T18" fmla="*/ 3454 w 3704"/>
              <a:gd name="T19" fmla="*/ 120 h 490"/>
              <a:gd name="T20" fmla="*/ 3424 w 3704"/>
              <a:gd name="T21" fmla="*/ 96 h 490"/>
              <a:gd name="T22" fmla="*/ 2960 w 3704"/>
              <a:gd name="T23" fmla="*/ 0 h 490"/>
              <a:gd name="T24" fmla="*/ 3034 w 3704"/>
              <a:gd name="T25" fmla="*/ 12 h 490"/>
              <a:gd name="T26" fmla="*/ 3092 w 3704"/>
              <a:gd name="T27" fmla="*/ 58 h 490"/>
              <a:gd name="T28" fmla="*/ 3118 w 3704"/>
              <a:gd name="T29" fmla="*/ 144 h 490"/>
              <a:gd name="T30" fmla="*/ 3102 w 3704"/>
              <a:gd name="T31" fmla="*/ 212 h 490"/>
              <a:gd name="T32" fmla="*/ 3048 w 3704"/>
              <a:gd name="T33" fmla="*/ 266 h 490"/>
              <a:gd name="T34" fmla="*/ 2824 w 3704"/>
              <a:gd name="T35" fmla="*/ 350 h 490"/>
              <a:gd name="T36" fmla="*/ 2820 w 3704"/>
              <a:gd name="T37" fmla="*/ 210 h 490"/>
              <a:gd name="T38" fmla="*/ 2876 w 3704"/>
              <a:gd name="T39" fmla="*/ 204 h 490"/>
              <a:gd name="T40" fmla="*/ 2902 w 3704"/>
              <a:gd name="T41" fmla="*/ 168 h 490"/>
              <a:gd name="T42" fmla="*/ 2892 w 3704"/>
              <a:gd name="T43" fmla="*/ 112 h 490"/>
              <a:gd name="T44" fmla="*/ 2848 w 3704"/>
              <a:gd name="T45" fmla="*/ 94 h 490"/>
              <a:gd name="T46" fmla="*/ 244 w 3704"/>
              <a:gd name="T47" fmla="*/ 0 h 490"/>
              <a:gd name="T48" fmla="*/ 624 w 3704"/>
              <a:gd name="T49" fmla="*/ 0 h 490"/>
              <a:gd name="T50" fmla="*/ 1015 w 3704"/>
              <a:gd name="T51" fmla="*/ 378 h 490"/>
              <a:gd name="T52" fmla="*/ 908 w 3704"/>
              <a:gd name="T53" fmla="*/ 190 h 490"/>
              <a:gd name="T54" fmla="*/ 666 w 3704"/>
              <a:gd name="T55" fmla="*/ 490 h 490"/>
              <a:gd name="T56" fmla="*/ 1929 w 3704"/>
              <a:gd name="T57" fmla="*/ 0 h 490"/>
              <a:gd name="T58" fmla="*/ 1603 w 3704"/>
              <a:gd name="T59" fmla="*/ 490 h 490"/>
              <a:gd name="T60" fmla="*/ 2561 w 3704"/>
              <a:gd name="T61" fmla="*/ 490 h 490"/>
              <a:gd name="T62" fmla="*/ 2561 w 3704"/>
              <a:gd name="T63" fmla="*/ 190 h 490"/>
              <a:gd name="T64" fmla="*/ 2213 w 3704"/>
              <a:gd name="T65" fmla="*/ 0 h 490"/>
              <a:gd name="T66" fmla="*/ 1437 w 3704"/>
              <a:gd name="T67" fmla="*/ 0 h 490"/>
              <a:gd name="T68" fmla="*/ 1505 w 3704"/>
              <a:gd name="T69" fmla="*/ 14 h 490"/>
              <a:gd name="T70" fmla="*/ 1553 w 3704"/>
              <a:gd name="T71" fmla="*/ 56 h 490"/>
              <a:gd name="T72" fmla="*/ 1573 w 3704"/>
              <a:gd name="T73" fmla="*/ 130 h 490"/>
              <a:gd name="T74" fmla="*/ 1553 w 3704"/>
              <a:gd name="T75" fmla="*/ 202 h 490"/>
              <a:gd name="T76" fmla="*/ 1511 w 3704"/>
              <a:gd name="T77" fmla="*/ 236 h 490"/>
              <a:gd name="T78" fmla="*/ 1567 w 3704"/>
              <a:gd name="T79" fmla="*/ 296 h 490"/>
              <a:gd name="T80" fmla="*/ 1577 w 3704"/>
              <a:gd name="T81" fmla="*/ 354 h 490"/>
              <a:gd name="T82" fmla="*/ 1545 w 3704"/>
              <a:gd name="T83" fmla="*/ 448 h 490"/>
              <a:gd name="T84" fmla="*/ 1483 w 3704"/>
              <a:gd name="T85" fmla="*/ 484 h 490"/>
              <a:gd name="T86" fmla="*/ 1047 w 3704"/>
              <a:gd name="T87" fmla="*/ 0 h 490"/>
              <a:gd name="T88" fmla="*/ 1325 w 3704"/>
              <a:gd name="T89" fmla="*/ 184 h 490"/>
              <a:gd name="T90" fmla="*/ 1353 w 3704"/>
              <a:gd name="T91" fmla="*/ 154 h 490"/>
              <a:gd name="T92" fmla="*/ 1345 w 3704"/>
              <a:gd name="T93" fmla="*/ 108 h 490"/>
              <a:gd name="T94" fmla="*/ 1313 w 3704"/>
              <a:gd name="T95" fmla="*/ 94 h 490"/>
              <a:gd name="T96" fmla="*/ 1313 w 3704"/>
              <a:gd name="T97" fmla="*/ 392 h 490"/>
              <a:gd name="T98" fmla="*/ 1355 w 3704"/>
              <a:gd name="T99" fmla="*/ 366 h 490"/>
              <a:gd name="T100" fmla="*/ 1355 w 3704"/>
              <a:gd name="T101" fmla="*/ 316 h 490"/>
              <a:gd name="T102" fmla="*/ 1319 w 3704"/>
              <a:gd name="T103" fmla="*/ 292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704" h="490">
                <a:moveTo>
                  <a:pt x="3150" y="0"/>
                </a:moveTo>
                <a:lnTo>
                  <a:pt x="3516" y="0"/>
                </a:lnTo>
                <a:lnTo>
                  <a:pt x="3516" y="0"/>
                </a:lnTo>
                <a:lnTo>
                  <a:pt x="3536" y="0"/>
                </a:lnTo>
                <a:lnTo>
                  <a:pt x="3556" y="4"/>
                </a:lnTo>
                <a:lnTo>
                  <a:pt x="3572" y="8"/>
                </a:lnTo>
                <a:lnTo>
                  <a:pt x="3588" y="12"/>
                </a:lnTo>
                <a:lnTo>
                  <a:pt x="3602" y="20"/>
                </a:lnTo>
                <a:lnTo>
                  <a:pt x="3616" y="28"/>
                </a:lnTo>
                <a:lnTo>
                  <a:pt x="3628" y="36"/>
                </a:lnTo>
                <a:lnTo>
                  <a:pt x="3638" y="46"/>
                </a:lnTo>
                <a:lnTo>
                  <a:pt x="3646" y="58"/>
                </a:lnTo>
                <a:lnTo>
                  <a:pt x="3654" y="70"/>
                </a:lnTo>
                <a:lnTo>
                  <a:pt x="3660" y="80"/>
                </a:lnTo>
                <a:lnTo>
                  <a:pt x="3664" y="94"/>
                </a:lnTo>
                <a:lnTo>
                  <a:pt x="3672" y="118"/>
                </a:lnTo>
                <a:lnTo>
                  <a:pt x="3674" y="144"/>
                </a:lnTo>
                <a:lnTo>
                  <a:pt x="3674" y="144"/>
                </a:lnTo>
                <a:lnTo>
                  <a:pt x="3672" y="164"/>
                </a:lnTo>
                <a:lnTo>
                  <a:pt x="3670" y="182"/>
                </a:lnTo>
                <a:lnTo>
                  <a:pt x="3664" y="198"/>
                </a:lnTo>
                <a:lnTo>
                  <a:pt x="3658" y="212"/>
                </a:lnTo>
                <a:lnTo>
                  <a:pt x="3650" y="226"/>
                </a:lnTo>
                <a:lnTo>
                  <a:pt x="3642" y="236"/>
                </a:lnTo>
                <a:lnTo>
                  <a:pt x="3632" y="246"/>
                </a:lnTo>
                <a:lnTo>
                  <a:pt x="3622" y="254"/>
                </a:lnTo>
                <a:lnTo>
                  <a:pt x="3604" y="266"/>
                </a:lnTo>
                <a:lnTo>
                  <a:pt x="3586" y="274"/>
                </a:lnTo>
                <a:lnTo>
                  <a:pt x="3570" y="278"/>
                </a:lnTo>
                <a:lnTo>
                  <a:pt x="3704" y="490"/>
                </a:lnTo>
                <a:lnTo>
                  <a:pt x="3436" y="490"/>
                </a:lnTo>
                <a:lnTo>
                  <a:pt x="3378" y="350"/>
                </a:lnTo>
                <a:lnTo>
                  <a:pt x="3380" y="490"/>
                </a:lnTo>
                <a:lnTo>
                  <a:pt x="3150" y="490"/>
                </a:lnTo>
                <a:lnTo>
                  <a:pt x="3150" y="0"/>
                </a:lnTo>
                <a:close/>
                <a:moveTo>
                  <a:pt x="3374" y="94"/>
                </a:moveTo>
                <a:lnTo>
                  <a:pt x="3374" y="210"/>
                </a:lnTo>
                <a:lnTo>
                  <a:pt x="3404" y="210"/>
                </a:lnTo>
                <a:lnTo>
                  <a:pt x="3404" y="210"/>
                </a:lnTo>
                <a:lnTo>
                  <a:pt x="3414" y="208"/>
                </a:lnTo>
                <a:lnTo>
                  <a:pt x="3424" y="206"/>
                </a:lnTo>
                <a:lnTo>
                  <a:pt x="3432" y="204"/>
                </a:lnTo>
                <a:lnTo>
                  <a:pt x="3438" y="200"/>
                </a:lnTo>
                <a:lnTo>
                  <a:pt x="3448" y="190"/>
                </a:lnTo>
                <a:lnTo>
                  <a:pt x="3454" y="178"/>
                </a:lnTo>
                <a:lnTo>
                  <a:pt x="3454" y="178"/>
                </a:lnTo>
                <a:lnTo>
                  <a:pt x="3456" y="168"/>
                </a:lnTo>
                <a:lnTo>
                  <a:pt x="3458" y="154"/>
                </a:lnTo>
                <a:lnTo>
                  <a:pt x="3458" y="138"/>
                </a:lnTo>
                <a:lnTo>
                  <a:pt x="3454" y="120"/>
                </a:lnTo>
                <a:lnTo>
                  <a:pt x="3454" y="120"/>
                </a:lnTo>
                <a:lnTo>
                  <a:pt x="3448" y="112"/>
                </a:lnTo>
                <a:lnTo>
                  <a:pt x="3438" y="102"/>
                </a:lnTo>
                <a:lnTo>
                  <a:pt x="3432" y="98"/>
                </a:lnTo>
                <a:lnTo>
                  <a:pt x="3424" y="96"/>
                </a:lnTo>
                <a:lnTo>
                  <a:pt x="3414" y="94"/>
                </a:lnTo>
                <a:lnTo>
                  <a:pt x="3404" y="94"/>
                </a:lnTo>
                <a:lnTo>
                  <a:pt x="3374" y="94"/>
                </a:lnTo>
                <a:close/>
                <a:moveTo>
                  <a:pt x="2595" y="0"/>
                </a:moveTo>
                <a:lnTo>
                  <a:pt x="2960" y="0"/>
                </a:lnTo>
                <a:lnTo>
                  <a:pt x="2960" y="0"/>
                </a:lnTo>
                <a:lnTo>
                  <a:pt x="2982" y="0"/>
                </a:lnTo>
                <a:lnTo>
                  <a:pt x="3000" y="4"/>
                </a:lnTo>
                <a:lnTo>
                  <a:pt x="3018" y="8"/>
                </a:lnTo>
                <a:lnTo>
                  <a:pt x="3034" y="12"/>
                </a:lnTo>
                <a:lnTo>
                  <a:pt x="3048" y="20"/>
                </a:lnTo>
                <a:lnTo>
                  <a:pt x="3060" y="28"/>
                </a:lnTo>
                <a:lnTo>
                  <a:pt x="3072" y="36"/>
                </a:lnTo>
                <a:lnTo>
                  <a:pt x="3082" y="46"/>
                </a:lnTo>
                <a:lnTo>
                  <a:pt x="3092" y="58"/>
                </a:lnTo>
                <a:lnTo>
                  <a:pt x="3098" y="70"/>
                </a:lnTo>
                <a:lnTo>
                  <a:pt x="3106" y="80"/>
                </a:lnTo>
                <a:lnTo>
                  <a:pt x="3110" y="94"/>
                </a:lnTo>
                <a:lnTo>
                  <a:pt x="3116" y="118"/>
                </a:lnTo>
                <a:lnTo>
                  <a:pt x="3118" y="144"/>
                </a:lnTo>
                <a:lnTo>
                  <a:pt x="3118" y="144"/>
                </a:lnTo>
                <a:lnTo>
                  <a:pt x="3118" y="164"/>
                </a:lnTo>
                <a:lnTo>
                  <a:pt x="3114" y="182"/>
                </a:lnTo>
                <a:lnTo>
                  <a:pt x="3110" y="198"/>
                </a:lnTo>
                <a:lnTo>
                  <a:pt x="3102" y="212"/>
                </a:lnTo>
                <a:lnTo>
                  <a:pt x="3094" y="226"/>
                </a:lnTo>
                <a:lnTo>
                  <a:pt x="3086" y="236"/>
                </a:lnTo>
                <a:lnTo>
                  <a:pt x="3076" y="246"/>
                </a:lnTo>
                <a:lnTo>
                  <a:pt x="3068" y="254"/>
                </a:lnTo>
                <a:lnTo>
                  <a:pt x="3048" y="266"/>
                </a:lnTo>
                <a:lnTo>
                  <a:pt x="3032" y="274"/>
                </a:lnTo>
                <a:lnTo>
                  <a:pt x="3016" y="278"/>
                </a:lnTo>
                <a:lnTo>
                  <a:pt x="3148" y="490"/>
                </a:lnTo>
                <a:lnTo>
                  <a:pt x="2882" y="490"/>
                </a:lnTo>
                <a:lnTo>
                  <a:pt x="2824" y="350"/>
                </a:lnTo>
                <a:lnTo>
                  <a:pt x="2824" y="490"/>
                </a:lnTo>
                <a:lnTo>
                  <a:pt x="2595" y="490"/>
                </a:lnTo>
                <a:lnTo>
                  <a:pt x="2595" y="0"/>
                </a:lnTo>
                <a:close/>
                <a:moveTo>
                  <a:pt x="2820" y="94"/>
                </a:moveTo>
                <a:lnTo>
                  <a:pt x="2820" y="210"/>
                </a:lnTo>
                <a:lnTo>
                  <a:pt x="2848" y="210"/>
                </a:lnTo>
                <a:lnTo>
                  <a:pt x="2848" y="210"/>
                </a:lnTo>
                <a:lnTo>
                  <a:pt x="2860" y="208"/>
                </a:lnTo>
                <a:lnTo>
                  <a:pt x="2868" y="206"/>
                </a:lnTo>
                <a:lnTo>
                  <a:pt x="2876" y="204"/>
                </a:lnTo>
                <a:lnTo>
                  <a:pt x="2882" y="200"/>
                </a:lnTo>
                <a:lnTo>
                  <a:pt x="2892" y="190"/>
                </a:lnTo>
                <a:lnTo>
                  <a:pt x="2898" y="178"/>
                </a:lnTo>
                <a:lnTo>
                  <a:pt x="2898" y="178"/>
                </a:lnTo>
                <a:lnTo>
                  <a:pt x="2902" y="168"/>
                </a:lnTo>
                <a:lnTo>
                  <a:pt x="2904" y="154"/>
                </a:lnTo>
                <a:lnTo>
                  <a:pt x="2902" y="138"/>
                </a:lnTo>
                <a:lnTo>
                  <a:pt x="2898" y="120"/>
                </a:lnTo>
                <a:lnTo>
                  <a:pt x="2898" y="120"/>
                </a:lnTo>
                <a:lnTo>
                  <a:pt x="2892" y="112"/>
                </a:lnTo>
                <a:lnTo>
                  <a:pt x="2884" y="102"/>
                </a:lnTo>
                <a:lnTo>
                  <a:pt x="2878" y="98"/>
                </a:lnTo>
                <a:lnTo>
                  <a:pt x="2870" y="96"/>
                </a:lnTo>
                <a:lnTo>
                  <a:pt x="2860" y="94"/>
                </a:lnTo>
                <a:lnTo>
                  <a:pt x="2848" y="94"/>
                </a:lnTo>
                <a:lnTo>
                  <a:pt x="2820" y="94"/>
                </a:lnTo>
                <a:close/>
                <a:moveTo>
                  <a:pt x="350" y="490"/>
                </a:moveTo>
                <a:lnTo>
                  <a:pt x="350" y="354"/>
                </a:lnTo>
                <a:lnTo>
                  <a:pt x="244" y="354"/>
                </a:lnTo>
                <a:lnTo>
                  <a:pt x="244" y="0"/>
                </a:lnTo>
                <a:lnTo>
                  <a:pt x="0" y="0"/>
                </a:lnTo>
                <a:lnTo>
                  <a:pt x="0" y="490"/>
                </a:lnTo>
                <a:lnTo>
                  <a:pt x="350" y="490"/>
                </a:lnTo>
                <a:close/>
                <a:moveTo>
                  <a:pt x="386" y="0"/>
                </a:moveTo>
                <a:lnTo>
                  <a:pt x="624" y="0"/>
                </a:lnTo>
                <a:lnTo>
                  <a:pt x="624" y="490"/>
                </a:lnTo>
                <a:lnTo>
                  <a:pt x="386" y="490"/>
                </a:lnTo>
                <a:lnTo>
                  <a:pt x="386" y="0"/>
                </a:lnTo>
                <a:close/>
                <a:moveTo>
                  <a:pt x="1015" y="490"/>
                </a:moveTo>
                <a:lnTo>
                  <a:pt x="1015" y="378"/>
                </a:lnTo>
                <a:lnTo>
                  <a:pt x="908" y="378"/>
                </a:lnTo>
                <a:lnTo>
                  <a:pt x="908" y="288"/>
                </a:lnTo>
                <a:lnTo>
                  <a:pt x="1013" y="288"/>
                </a:lnTo>
                <a:lnTo>
                  <a:pt x="1013" y="190"/>
                </a:lnTo>
                <a:lnTo>
                  <a:pt x="908" y="190"/>
                </a:lnTo>
                <a:lnTo>
                  <a:pt x="908" y="96"/>
                </a:lnTo>
                <a:lnTo>
                  <a:pt x="1015" y="96"/>
                </a:lnTo>
                <a:lnTo>
                  <a:pt x="1015" y="0"/>
                </a:lnTo>
                <a:lnTo>
                  <a:pt x="666" y="0"/>
                </a:lnTo>
                <a:lnTo>
                  <a:pt x="666" y="490"/>
                </a:lnTo>
                <a:lnTo>
                  <a:pt x="1015" y="490"/>
                </a:lnTo>
                <a:close/>
                <a:moveTo>
                  <a:pt x="1929" y="490"/>
                </a:moveTo>
                <a:lnTo>
                  <a:pt x="2171" y="490"/>
                </a:lnTo>
                <a:lnTo>
                  <a:pt x="2171" y="0"/>
                </a:lnTo>
                <a:lnTo>
                  <a:pt x="1929" y="0"/>
                </a:lnTo>
                <a:lnTo>
                  <a:pt x="1929" y="186"/>
                </a:lnTo>
                <a:lnTo>
                  <a:pt x="1851" y="186"/>
                </a:lnTo>
                <a:lnTo>
                  <a:pt x="1851" y="0"/>
                </a:lnTo>
                <a:lnTo>
                  <a:pt x="1603" y="0"/>
                </a:lnTo>
                <a:lnTo>
                  <a:pt x="1603" y="490"/>
                </a:lnTo>
                <a:lnTo>
                  <a:pt x="1851" y="490"/>
                </a:lnTo>
                <a:lnTo>
                  <a:pt x="1851" y="284"/>
                </a:lnTo>
                <a:lnTo>
                  <a:pt x="1929" y="284"/>
                </a:lnTo>
                <a:lnTo>
                  <a:pt x="1929" y="490"/>
                </a:lnTo>
                <a:close/>
                <a:moveTo>
                  <a:pt x="2561" y="490"/>
                </a:moveTo>
                <a:lnTo>
                  <a:pt x="2561" y="378"/>
                </a:lnTo>
                <a:lnTo>
                  <a:pt x="2455" y="378"/>
                </a:lnTo>
                <a:lnTo>
                  <a:pt x="2455" y="288"/>
                </a:lnTo>
                <a:lnTo>
                  <a:pt x="2561" y="288"/>
                </a:lnTo>
                <a:lnTo>
                  <a:pt x="2561" y="190"/>
                </a:lnTo>
                <a:lnTo>
                  <a:pt x="2455" y="190"/>
                </a:lnTo>
                <a:lnTo>
                  <a:pt x="2455" y="96"/>
                </a:lnTo>
                <a:lnTo>
                  <a:pt x="2561" y="96"/>
                </a:lnTo>
                <a:lnTo>
                  <a:pt x="2561" y="0"/>
                </a:lnTo>
                <a:lnTo>
                  <a:pt x="2213" y="0"/>
                </a:lnTo>
                <a:lnTo>
                  <a:pt x="2213" y="490"/>
                </a:lnTo>
                <a:lnTo>
                  <a:pt x="2561" y="490"/>
                </a:lnTo>
                <a:close/>
                <a:moveTo>
                  <a:pt x="1047" y="0"/>
                </a:moveTo>
                <a:lnTo>
                  <a:pt x="1047" y="0"/>
                </a:lnTo>
                <a:lnTo>
                  <a:pt x="1437" y="0"/>
                </a:lnTo>
                <a:lnTo>
                  <a:pt x="1437" y="0"/>
                </a:lnTo>
                <a:lnTo>
                  <a:pt x="1457" y="0"/>
                </a:lnTo>
                <a:lnTo>
                  <a:pt x="1475" y="4"/>
                </a:lnTo>
                <a:lnTo>
                  <a:pt x="1491" y="8"/>
                </a:lnTo>
                <a:lnTo>
                  <a:pt x="1505" y="14"/>
                </a:lnTo>
                <a:lnTo>
                  <a:pt x="1517" y="20"/>
                </a:lnTo>
                <a:lnTo>
                  <a:pt x="1527" y="28"/>
                </a:lnTo>
                <a:lnTo>
                  <a:pt x="1537" y="36"/>
                </a:lnTo>
                <a:lnTo>
                  <a:pt x="1545" y="46"/>
                </a:lnTo>
                <a:lnTo>
                  <a:pt x="1553" y="56"/>
                </a:lnTo>
                <a:lnTo>
                  <a:pt x="1559" y="68"/>
                </a:lnTo>
                <a:lnTo>
                  <a:pt x="1567" y="88"/>
                </a:lnTo>
                <a:lnTo>
                  <a:pt x="1571" y="110"/>
                </a:lnTo>
                <a:lnTo>
                  <a:pt x="1573" y="130"/>
                </a:lnTo>
                <a:lnTo>
                  <a:pt x="1573" y="130"/>
                </a:lnTo>
                <a:lnTo>
                  <a:pt x="1571" y="144"/>
                </a:lnTo>
                <a:lnTo>
                  <a:pt x="1569" y="158"/>
                </a:lnTo>
                <a:lnTo>
                  <a:pt x="1567" y="172"/>
                </a:lnTo>
                <a:lnTo>
                  <a:pt x="1563" y="182"/>
                </a:lnTo>
                <a:lnTo>
                  <a:pt x="1553" y="202"/>
                </a:lnTo>
                <a:lnTo>
                  <a:pt x="1543" y="216"/>
                </a:lnTo>
                <a:lnTo>
                  <a:pt x="1531" y="226"/>
                </a:lnTo>
                <a:lnTo>
                  <a:pt x="1521" y="232"/>
                </a:lnTo>
                <a:lnTo>
                  <a:pt x="1511" y="236"/>
                </a:lnTo>
                <a:lnTo>
                  <a:pt x="1511" y="236"/>
                </a:lnTo>
                <a:lnTo>
                  <a:pt x="1523" y="242"/>
                </a:lnTo>
                <a:lnTo>
                  <a:pt x="1533" y="250"/>
                </a:lnTo>
                <a:lnTo>
                  <a:pt x="1545" y="260"/>
                </a:lnTo>
                <a:lnTo>
                  <a:pt x="1557" y="276"/>
                </a:lnTo>
                <a:lnTo>
                  <a:pt x="1567" y="296"/>
                </a:lnTo>
                <a:lnTo>
                  <a:pt x="1571" y="308"/>
                </a:lnTo>
                <a:lnTo>
                  <a:pt x="1575" y="322"/>
                </a:lnTo>
                <a:lnTo>
                  <a:pt x="1577" y="336"/>
                </a:lnTo>
                <a:lnTo>
                  <a:pt x="1577" y="354"/>
                </a:lnTo>
                <a:lnTo>
                  <a:pt x="1577" y="354"/>
                </a:lnTo>
                <a:lnTo>
                  <a:pt x="1575" y="378"/>
                </a:lnTo>
                <a:lnTo>
                  <a:pt x="1571" y="400"/>
                </a:lnTo>
                <a:lnTo>
                  <a:pt x="1565" y="418"/>
                </a:lnTo>
                <a:lnTo>
                  <a:pt x="1557" y="434"/>
                </a:lnTo>
                <a:lnTo>
                  <a:pt x="1545" y="448"/>
                </a:lnTo>
                <a:lnTo>
                  <a:pt x="1535" y="460"/>
                </a:lnTo>
                <a:lnTo>
                  <a:pt x="1521" y="468"/>
                </a:lnTo>
                <a:lnTo>
                  <a:pt x="1509" y="476"/>
                </a:lnTo>
                <a:lnTo>
                  <a:pt x="1495" y="480"/>
                </a:lnTo>
                <a:lnTo>
                  <a:pt x="1483" y="484"/>
                </a:lnTo>
                <a:lnTo>
                  <a:pt x="1457" y="488"/>
                </a:lnTo>
                <a:lnTo>
                  <a:pt x="1437" y="490"/>
                </a:lnTo>
                <a:lnTo>
                  <a:pt x="1425" y="490"/>
                </a:lnTo>
                <a:lnTo>
                  <a:pt x="1047" y="490"/>
                </a:lnTo>
                <a:lnTo>
                  <a:pt x="1047" y="0"/>
                </a:lnTo>
                <a:close/>
                <a:moveTo>
                  <a:pt x="1281" y="94"/>
                </a:moveTo>
                <a:lnTo>
                  <a:pt x="1281" y="186"/>
                </a:lnTo>
                <a:lnTo>
                  <a:pt x="1313" y="186"/>
                </a:lnTo>
                <a:lnTo>
                  <a:pt x="1313" y="186"/>
                </a:lnTo>
                <a:lnTo>
                  <a:pt x="1325" y="184"/>
                </a:lnTo>
                <a:lnTo>
                  <a:pt x="1335" y="180"/>
                </a:lnTo>
                <a:lnTo>
                  <a:pt x="1343" y="172"/>
                </a:lnTo>
                <a:lnTo>
                  <a:pt x="1349" y="162"/>
                </a:lnTo>
                <a:lnTo>
                  <a:pt x="1349" y="162"/>
                </a:lnTo>
                <a:lnTo>
                  <a:pt x="1353" y="154"/>
                </a:lnTo>
                <a:lnTo>
                  <a:pt x="1355" y="142"/>
                </a:lnTo>
                <a:lnTo>
                  <a:pt x="1353" y="130"/>
                </a:lnTo>
                <a:lnTo>
                  <a:pt x="1349" y="116"/>
                </a:lnTo>
                <a:lnTo>
                  <a:pt x="1349" y="116"/>
                </a:lnTo>
                <a:lnTo>
                  <a:pt x="1345" y="108"/>
                </a:lnTo>
                <a:lnTo>
                  <a:pt x="1339" y="102"/>
                </a:lnTo>
                <a:lnTo>
                  <a:pt x="1335" y="98"/>
                </a:lnTo>
                <a:lnTo>
                  <a:pt x="1329" y="96"/>
                </a:lnTo>
                <a:lnTo>
                  <a:pt x="1319" y="94"/>
                </a:lnTo>
                <a:lnTo>
                  <a:pt x="1313" y="94"/>
                </a:lnTo>
                <a:lnTo>
                  <a:pt x="1281" y="94"/>
                </a:lnTo>
                <a:close/>
                <a:moveTo>
                  <a:pt x="1279" y="292"/>
                </a:moveTo>
                <a:lnTo>
                  <a:pt x="1279" y="392"/>
                </a:lnTo>
                <a:lnTo>
                  <a:pt x="1313" y="392"/>
                </a:lnTo>
                <a:lnTo>
                  <a:pt x="1313" y="392"/>
                </a:lnTo>
                <a:lnTo>
                  <a:pt x="1327" y="390"/>
                </a:lnTo>
                <a:lnTo>
                  <a:pt x="1339" y="384"/>
                </a:lnTo>
                <a:lnTo>
                  <a:pt x="1349" y="376"/>
                </a:lnTo>
                <a:lnTo>
                  <a:pt x="1355" y="366"/>
                </a:lnTo>
                <a:lnTo>
                  <a:pt x="1355" y="366"/>
                </a:lnTo>
                <a:lnTo>
                  <a:pt x="1359" y="356"/>
                </a:lnTo>
                <a:lnTo>
                  <a:pt x="1361" y="344"/>
                </a:lnTo>
                <a:lnTo>
                  <a:pt x="1359" y="330"/>
                </a:lnTo>
                <a:lnTo>
                  <a:pt x="1355" y="316"/>
                </a:lnTo>
                <a:lnTo>
                  <a:pt x="1355" y="316"/>
                </a:lnTo>
                <a:lnTo>
                  <a:pt x="1349" y="306"/>
                </a:lnTo>
                <a:lnTo>
                  <a:pt x="1343" y="300"/>
                </a:lnTo>
                <a:lnTo>
                  <a:pt x="1337" y="296"/>
                </a:lnTo>
                <a:lnTo>
                  <a:pt x="1331" y="294"/>
                </a:lnTo>
                <a:lnTo>
                  <a:pt x="1319" y="292"/>
                </a:lnTo>
                <a:lnTo>
                  <a:pt x="1313" y="292"/>
                </a:lnTo>
                <a:lnTo>
                  <a:pt x="1279" y="2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311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/>
  <p:hf hdr="0" dt="0"/>
  <p:txStyles>
    <p:titleStyle>
      <a:lvl1pPr marL="0" indent="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FontTx/>
        <a:buNone/>
        <a:defRPr lang="de-DE" sz="2800" b="0" kern="1200" baseline="0" dirty="0" smtClean="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MS PGothic" panose="020B0600070205080204" pitchFamily="34" charset="-128"/>
          <a:cs typeface="ＭＳ Ｐゴシック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MS PGothic" panose="020B0600070205080204" pitchFamily="34" charset="-128"/>
          <a:cs typeface="ＭＳ Ｐゴシック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MS PGothic" panose="020B0600070205080204" pitchFamily="34" charset="-128"/>
          <a:cs typeface="ＭＳ Ｐゴシック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MS PGothic" panose="020B0600070205080204" pitchFamily="34" charset="-128"/>
          <a:cs typeface="ＭＳ Ｐゴシック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ＭＳ Ｐゴシック" charset="0"/>
        </a:defRPr>
      </a:lvl9pPr>
    </p:titleStyle>
    <p:bodyStyle>
      <a:lvl1pPr marL="288000" marR="0" indent="-288000" algn="l" defTabSz="914400" rtl="0" eaLnBrk="1" fontAlgn="base" latinLnBrk="0" hangingPunct="1">
        <a:lnSpc>
          <a:spcPct val="100000"/>
        </a:lnSpc>
        <a:spcBef>
          <a:spcPts val="1000"/>
        </a:spcBef>
        <a:spcAft>
          <a:spcPct val="0"/>
        </a:spcAft>
        <a:buClr>
          <a:schemeClr val="tx1"/>
        </a:buClr>
        <a:buSzTx/>
        <a:buFontTx/>
        <a:buBlip>
          <a:blip r:embed="rId19"/>
        </a:buBlip>
        <a:tabLst/>
        <a:defRPr sz="1800" kern="1200" baseline="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1pPr>
      <a:lvl2pPr marL="561600" indent="-288000" algn="l" rtl="0" eaLnBrk="1" fontAlgn="base" hangingPunct="1">
        <a:lnSpc>
          <a:spcPct val="100000"/>
        </a:lnSpc>
        <a:spcBef>
          <a:spcPts val="1000"/>
        </a:spcBef>
        <a:spcAft>
          <a:spcPct val="0"/>
        </a:spcAft>
        <a:buFontTx/>
        <a:buBlip>
          <a:blip r:embed="rId19"/>
        </a:buBlip>
        <a:defRPr sz="1800" kern="120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2pPr>
      <a:lvl3pPr marL="831600" indent="-288000" algn="l" rtl="0" eaLnBrk="1" fontAlgn="base" hangingPunct="1">
        <a:lnSpc>
          <a:spcPct val="100000"/>
        </a:lnSpc>
        <a:spcBef>
          <a:spcPts val="1000"/>
        </a:spcBef>
        <a:spcAft>
          <a:spcPct val="0"/>
        </a:spcAft>
        <a:buFontTx/>
        <a:buBlip>
          <a:blip r:embed="rId19"/>
        </a:buBlip>
        <a:defRPr sz="1800" kern="120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3pPr>
      <a:lvl4pPr marL="1112400" indent="-288000" algn="l" rtl="0" eaLnBrk="1" fontAlgn="base" hangingPunct="1">
        <a:lnSpc>
          <a:spcPct val="100000"/>
        </a:lnSpc>
        <a:spcBef>
          <a:spcPts val="1000"/>
        </a:spcBef>
        <a:spcAft>
          <a:spcPct val="0"/>
        </a:spcAft>
        <a:buFontTx/>
        <a:buBlip>
          <a:blip r:embed="rId19"/>
        </a:buBlip>
        <a:defRPr sz="1800" kern="120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4pPr>
      <a:lvl5pPr marL="1378800" indent="-288000" algn="l" rtl="0" eaLnBrk="1" fontAlgn="base" hangingPunct="1">
        <a:lnSpc>
          <a:spcPct val="100000"/>
        </a:lnSpc>
        <a:spcBef>
          <a:spcPts val="1000"/>
        </a:spcBef>
        <a:spcAft>
          <a:spcPct val="0"/>
        </a:spcAft>
        <a:buFontTx/>
        <a:buBlip>
          <a:blip r:embed="rId19"/>
        </a:buBlip>
        <a:defRPr sz="1800" kern="1200">
          <a:solidFill>
            <a:schemeClr val="tx1"/>
          </a:solidFill>
          <a:latin typeface="+mj-lt"/>
          <a:ea typeface="Arial Unicode MS" panose="020B0604020202020204" pitchFamily="34" charset="-128"/>
          <a:cs typeface="Arial Unicode MS" panose="020B0604020202020204" pitchFamily="34" charset="-128"/>
        </a:defRPr>
      </a:lvl5pPr>
      <a:lvl6pPr marL="1659600" indent="-288000" algn="l" defTabSz="914400" rtl="0" eaLnBrk="1" latinLnBrk="0" hangingPunct="1">
        <a:lnSpc>
          <a:spcPts val="1900"/>
        </a:lnSpc>
        <a:spcBef>
          <a:spcPts val="1000"/>
        </a:spcBef>
        <a:buFontTx/>
        <a:buBlip>
          <a:blip r:embed="rId19"/>
        </a:buBlip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33200" indent="-288000" algn="l" defTabSz="914400" rtl="0" eaLnBrk="1" latinLnBrk="0" hangingPunct="1">
        <a:lnSpc>
          <a:spcPts val="1900"/>
        </a:lnSpc>
        <a:spcBef>
          <a:spcPts val="1000"/>
        </a:spcBef>
        <a:buFontTx/>
        <a:buBlip>
          <a:blip r:embed="rId1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282400" indent="-288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617200" indent="-288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19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3933">
          <p15:clr>
            <a:srgbClr val="F26B43"/>
          </p15:clr>
        </p15:guide>
        <p15:guide id="2" pos="7226">
          <p15:clr>
            <a:srgbClr val="F26B43"/>
          </p15:clr>
        </p15:guide>
        <p15:guide id="3" orient="horz" pos="681">
          <p15:clr>
            <a:srgbClr val="F26B43"/>
          </p15:clr>
        </p15:guide>
        <p15:guide id="4" pos="455">
          <p15:clr>
            <a:srgbClr val="F26B43"/>
          </p15:clr>
        </p15:guide>
        <p15:guide id="5" orient="horz" pos="242">
          <p15:clr>
            <a:srgbClr val="F26B43"/>
          </p15:clr>
        </p15:guide>
        <p15:guide id="6" orient="horz" pos="1019">
          <p15:clr>
            <a:srgbClr val="F26B43"/>
          </p15:clr>
        </p15:guide>
        <p15:guide id="7" pos="260">
          <p15:clr>
            <a:srgbClr val="F26B43"/>
          </p15:clr>
        </p15:guide>
        <p15:guide id="8" pos="7521">
          <p15:clr>
            <a:srgbClr val="F26B43"/>
          </p15:clr>
        </p15:guide>
        <p15:guide id="9" orient="horz" pos="4046">
          <p15:clr>
            <a:srgbClr val="F26B43"/>
          </p15:clr>
        </p15:guide>
        <p15:guide id="10" orient="horz" pos="417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8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/>
            </a:r>
            <a:br>
              <a:rPr lang="cs-CZ" dirty="0" smtClean="0"/>
            </a:br>
            <a:r>
              <a:rPr lang="cs-CZ" dirty="0" smtClean="0"/>
              <a:t>LIEBHERR-STAVEBNÍ STROJE CZ s.r.o.</a:t>
            </a:r>
            <a:endParaRPr lang="cs-CZ" dirty="0"/>
          </a:p>
        </p:txBody>
      </p:sp>
      <p:sp>
        <p:nvSpPr>
          <p:cNvPr id="7" name="Zástupný symbol pro text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Specialista na zakládání staveb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54886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text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Vrtné soupravy</a:t>
            </a:r>
            <a:endParaRPr lang="cs-CZ" dirty="0"/>
          </a:p>
        </p:txBody>
      </p:sp>
      <p:sp>
        <p:nvSpPr>
          <p:cNvPr id="8" name="Nadpis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oztlačované piloty FDP</a:t>
            </a:r>
            <a:endParaRPr lang="cs-CZ" dirty="0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684"/>
          <a:stretch/>
        </p:blipFill>
        <p:spPr>
          <a:xfrm>
            <a:off x="225249" y="1331038"/>
            <a:ext cx="6159218" cy="4645211"/>
          </a:xfrm>
        </p:spPr>
      </p:pic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59" r="20391" b="-4910"/>
          <a:stretch/>
        </p:blipFill>
        <p:spPr>
          <a:xfrm>
            <a:off x="6457947" y="1331038"/>
            <a:ext cx="5500006" cy="4881833"/>
          </a:xfrm>
          <a:prstGeom prst="rect">
            <a:avLst/>
          </a:prstGeom>
        </p:spPr>
      </p:pic>
      <p:sp>
        <p:nvSpPr>
          <p:cNvPr id="11" name="Zástupný symbol pro zápatí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2" name="Zástupný symbol pro číslo snímku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4871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Vrtné soupravy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Trysková injektáž</a:t>
            </a:r>
            <a:endParaRPr lang="cs-CZ" dirty="0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5218" y="154854"/>
            <a:ext cx="4047366" cy="6071050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0" r="3897"/>
          <a:stretch/>
        </p:blipFill>
        <p:spPr>
          <a:xfrm>
            <a:off x="838200" y="1619546"/>
            <a:ext cx="6109607" cy="4606358"/>
          </a:xfrm>
          <a:prstGeom prst="rect">
            <a:avLst/>
          </a:prstGeom>
        </p:spPr>
      </p:pic>
      <p:sp>
        <p:nvSpPr>
          <p:cNvPr id="9" name="Zástupný symbol pro zápatí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3553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Vrtné soupravy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Beranění</a:t>
            </a:r>
            <a:endParaRPr lang="cs-CZ" dirty="0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238"/>
          <a:stretch/>
        </p:blipFill>
        <p:spPr>
          <a:xfrm>
            <a:off x="756560" y="1237688"/>
            <a:ext cx="5024581" cy="4875131"/>
          </a:xfrm>
          <a:prstGeom prst="rect">
            <a:avLst/>
          </a:prstGeom>
        </p:spPr>
      </p:pic>
      <p:pic>
        <p:nvPicPr>
          <p:cNvPr id="7" name="Obrázek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" r="20178"/>
          <a:stretch/>
        </p:blipFill>
        <p:spPr>
          <a:xfrm>
            <a:off x="5835452" y="1237688"/>
            <a:ext cx="5841762" cy="4875131"/>
          </a:xfrm>
          <a:prstGeom prst="rect">
            <a:avLst/>
          </a:prstGeom>
        </p:spPr>
      </p:pic>
      <p:sp>
        <p:nvSpPr>
          <p:cNvPr id="9" name="Zástupný symbol pro zápatí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19194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Lanová rypadla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těnová fréza pro podzemní stěny</a:t>
            </a:r>
            <a:endParaRPr lang="cs-CZ" dirty="0"/>
          </a:p>
        </p:txBody>
      </p:sp>
      <p:pic>
        <p:nvPicPr>
          <p:cNvPr id="4" name="Zástupný symbol pro obrázek 4" descr="Drilling methods for deep foundation - Liebherr - Internet Explorer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7"/>
          <a:stretch/>
        </p:blipFill>
        <p:spPr>
          <a:xfrm>
            <a:off x="838200" y="2017214"/>
            <a:ext cx="7592286" cy="4270048"/>
          </a:xfrm>
          <a:prstGeom prst="rect">
            <a:avLst/>
          </a:prstGeom>
        </p:spPr>
      </p:pic>
      <p:pic>
        <p:nvPicPr>
          <p:cNvPr id="5" name="Zástupný symbol pro obrázek 4" descr="Drilling methods for deep foundation - Liebherr - Internet Explor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38200" y="2017215"/>
            <a:ext cx="8400221" cy="4337404"/>
          </a:xfrm>
          <a:prstGeom prst="rect">
            <a:avLst/>
          </a:prstGeom>
        </p:spPr>
      </p:pic>
      <p:pic>
        <p:nvPicPr>
          <p:cNvPr id="6" name="Zástupný symbol pro obrázek 4" descr="Slurry wall installation as a deep foundation method - Liebherr - Internet Explore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44538" y="2017214"/>
            <a:ext cx="9255791" cy="4337406"/>
          </a:xfrm>
          <a:prstGeom prst="rect">
            <a:avLst/>
          </a:prstGeom>
        </p:spPr>
      </p:pic>
      <p:pic>
        <p:nvPicPr>
          <p:cNvPr id="7" name="Zástupný symbol pro obrázek 4" descr="Slurry wall installation as a deep foundation method - Liebherr - Internet Explorer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79226" y="1428751"/>
            <a:ext cx="10886046" cy="4858512"/>
          </a:xfrm>
          <a:prstGeom prst="rect">
            <a:avLst/>
          </a:prstGeom>
        </p:spPr>
      </p:pic>
      <p:sp>
        <p:nvSpPr>
          <p:cNvPr id="11" name="Zástupný symbol pro zápatí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2" name="Zástupný symbol pro číslo snímku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80485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text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/>
              <a:t>Lanová </a:t>
            </a:r>
            <a:r>
              <a:rPr lang="cs-CZ" dirty="0" smtClean="0"/>
              <a:t>rypadla</a:t>
            </a:r>
            <a:endParaRPr lang="cs-CZ" dirty="0"/>
          </a:p>
        </p:txBody>
      </p:sp>
      <p:sp>
        <p:nvSpPr>
          <p:cNvPr id="8" name="Nadpis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ěnová fréza pro podzemní stěny</a:t>
            </a:r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816423" y="2294166"/>
            <a:ext cx="5598523" cy="3729016"/>
          </a:xfrm>
        </p:spPr>
      </p:pic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19" t="260" r="14676" b="-260"/>
          <a:stretch/>
        </p:blipFill>
        <p:spPr>
          <a:xfrm>
            <a:off x="6499662" y="1570171"/>
            <a:ext cx="5001090" cy="4453010"/>
          </a:xfrm>
          <a:prstGeom prst="rect">
            <a:avLst/>
          </a:prstGeom>
        </p:spPr>
      </p:pic>
      <p:sp>
        <p:nvSpPr>
          <p:cNvPr id="11" name="Zástupný symbol pro zápatí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2" name="Zástupný symbol pro číslo snímku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95091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Lanová rypadla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těnový drapák pro podzemní stěny</a:t>
            </a:r>
            <a:endParaRPr lang="cs-CZ" dirty="0"/>
          </a:p>
        </p:txBody>
      </p:sp>
      <p:pic>
        <p:nvPicPr>
          <p:cNvPr id="4" name="Zástupný symbol pro obrázek 4" descr="Drilling methods for deep foundation - Liebherr - Internet Explorer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7"/>
          <a:stretch/>
        </p:blipFill>
        <p:spPr>
          <a:xfrm>
            <a:off x="838200" y="2017214"/>
            <a:ext cx="7592286" cy="4270048"/>
          </a:xfrm>
          <a:prstGeom prst="rect">
            <a:avLst/>
          </a:prstGeom>
        </p:spPr>
      </p:pic>
      <p:pic>
        <p:nvPicPr>
          <p:cNvPr id="5" name="Zástupný symbol pro obrázek 4" descr="Drilling methods for deep foundation - Liebherr - Internet Explorer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38200" y="2017215"/>
            <a:ext cx="8400221" cy="4337404"/>
          </a:xfrm>
          <a:prstGeom prst="rect">
            <a:avLst/>
          </a:prstGeom>
        </p:spPr>
      </p:pic>
      <p:pic>
        <p:nvPicPr>
          <p:cNvPr id="6" name="Zástupný symbol pro obrázek 4" descr="Slurry wall installation as a deep foundation method - Liebherr - Internet Explorer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6472" y="1236757"/>
            <a:ext cx="10886400" cy="5101534"/>
          </a:xfrm>
          <a:prstGeom prst="rect">
            <a:avLst/>
          </a:prstGeom>
        </p:spPr>
      </p:pic>
      <p:sp>
        <p:nvSpPr>
          <p:cNvPr id="10" name="Zástupný symbol pro zápatí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1" name="Zástupný symbol pro číslo snímku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67734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text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Lanová rypadla</a:t>
            </a:r>
            <a:endParaRPr lang="cs-CZ" dirty="0"/>
          </a:p>
        </p:txBody>
      </p:sp>
      <p:sp>
        <p:nvSpPr>
          <p:cNvPr id="8" name="Nadpis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Stěnový drapák pro podzemní stěny</a:t>
            </a:r>
            <a:endParaRPr lang="cs-CZ" dirty="0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09"/>
          <a:stretch/>
        </p:blipFill>
        <p:spPr>
          <a:xfrm>
            <a:off x="743832" y="1983921"/>
            <a:ext cx="5463745" cy="4150078"/>
          </a:xfrm>
        </p:spPr>
      </p:pic>
      <p:pic>
        <p:nvPicPr>
          <p:cNvPr id="6" name="Obrázek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75" r="21948"/>
          <a:stretch/>
        </p:blipFill>
        <p:spPr>
          <a:xfrm>
            <a:off x="6270171" y="1329453"/>
            <a:ext cx="5083629" cy="4804545"/>
          </a:xfrm>
          <a:prstGeom prst="rect">
            <a:avLst/>
          </a:prstGeom>
        </p:spPr>
      </p:pic>
      <p:sp>
        <p:nvSpPr>
          <p:cNvPr id="11" name="Zástupný symbol pro zápatí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2" name="Zástupný symbol pro číslo snímku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1009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Lanová rypadla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Dynamické hutnění</a:t>
            </a:r>
            <a:endParaRPr lang="cs-CZ" dirty="0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604"/>
          <a:stretch/>
        </p:blipFill>
        <p:spPr>
          <a:xfrm>
            <a:off x="775034" y="1698175"/>
            <a:ext cx="5045990" cy="4399440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07"/>
          <a:stretch/>
        </p:blipFill>
        <p:spPr>
          <a:xfrm>
            <a:off x="5896364" y="1698175"/>
            <a:ext cx="5640285" cy="4399441"/>
          </a:xfrm>
          <a:prstGeom prst="rect">
            <a:avLst/>
          </a:prstGeom>
        </p:spPr>
      </p:pic>
      <p:sp>
        <p:nvSpPr>
          <p:cNvPr id="9" name="Zástupný symbol pro zápatí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7305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Podpůrné stroje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Hydraulická rypadla – nosič nářadí</a:t>
            </a:r>
            <a:endParaRPr lang="cs-CZ" dirty="0"/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492" b="11749"/>
          <a:stretch/>
        </p:blipFill>
        <p:spPr>
          <a:xfrm>
            <a:off x="6463967" y="1238884"/>
            <a:ext cx="4971473" cy="5023111"/>
          </a:xfrm>
          <a:prstGeom prst="rect">
            <a:avLst/>
          </a:prstGeom>
        </p:spPr>
      </p:pic>
      <p:pic>
        <p:nvPicPr>
          <p:cNvPr id="10" name="Obrázek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98" t="3096" r="6925" b="11109"/>
          <a:stretch/>
        </p:blipFill>
        <p:spPr>
          <a:xfrm>
            <a:off x="786627" y="1690008"/>
            <a:ext cx="5611534" cy="4571988"/>
          </a:xfrm>
          <a:prstGeom prst="rect">
            <a:avLst/>
          </a:prstGeom>
        </p:spPr>
      </p:pic>
      <p:sp>
        <p:nvSpPr>
          <p:cNvPr id="7" name="Zástupný symbol pro zápatí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25831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Podpůrné stroje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Kolové nakladače</a:t>
            </a:r>
            <a:endParaRPr lang="cs-CZ" dirty="0"/>
          </a:p>
        </p:txBody>
      </p:sp>
      <p:pic>
        <p:nvPicPr>
          <p:cNvPr id="4" name="Obrázek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13" t="11408" r="21821" b="-449"/>
          <a:stretch/>
        </p:blipFill>
        <p:spPr>
          <a:xfrm>
            <a:off x="724492" y="2302329"/>
            <a:ext cx="5028610" cy="3867373"/>
          </a:xfrm>
          <a:prstGeom prst="rect">
            <a:avLst/>
          </a:prstGeom>
        </p:spPr>
      </p:pic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09" r="21503" b="12524"/>
          <a:stretch/>
        </p:blipFill>
        <p:spPr>
          <a:xfrm>
            <a:off x="5809631" y="1436917"/>
            <a:ext cx="5642141" cy="4732785"/>
          </a:xfrm>
          <a:prstGeom prst="rect">
            <a:avLst/>
          </a:prstGeom>
        </p:spPr>
      </p:pic>
      <p:sp>
        <p:nvSpPr>
          <p:cNvPr id="9" name="Zástupný symbol pro zápatí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79417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text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5" name="Zástupný symbol pro obsah 4"/>
          <p:cNvPicPr>
            <a:picLocks noGrp="1" noChangeAspect="1"/>
          </p:cNvPicPr>
          <p:nvPr>
            <p:ph idx="4294967295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412" y="0"/>
            <a:ext cx="11625943" cy="6869877"/>
          </a:xfrm>
        </p:spPr>
      </p:pic>
      <p:sp>
        <p:nvSpPr>
          <p:cNvPr id="11" name="Zástupný symbol pro číslo snímku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7294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text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Nadpis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51" y="1762959"/>
            <a:ext cx="11133693" cy="4013410"/>
          </a:xfrm>
          <a:prstGeom prst="rect">
            <a:avLst/>
          </a:prstGeom>
        </p:spPr>
      </p:pic>
      <p:sp>
        <p:nvSpPr>
          <p:cNvPr id="12" name="Zástupný symbol pro zápatí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1208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text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900" y="1789798"/>
            <a:ext cx="10744200" cy="3871913"/>
          </a:xfrm>
        </p:spPr>
      </p:pic>
      <p:sp>
        <p:nvSpPr>
          <p:cNvPr id="10" name="Zástupný symbol pro zápatí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1" name="Zástupný symbol pro číslo snímku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2126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text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8" name="Zástupný symbol pro obsah 7"/>
          <p:cNvPicPr>
            <a:picLocks noGrp="1" noChangeAspect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113"/>
          <a:stretch/>
        </p:blipFill>
        <p:spPr>
          <a:xfrm>
            <a:off x="1992098" y="1216479"/>
            <a:ext cx="8375579" cy="4993952"/>
          </a:xfrm>
        </p:spPr>
      </p:pic>
      <p:sp>
        <p:nvSpPr>
          <p:cNvPr id="10" name="Zástupný symbol pro zápatí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1" name="Zástupný symbol pro číslo snímku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9204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text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Žádný stroj se však neobejde bez </a:t>
            </a:r>
            <a:endParaRPr lang="cs-CZ" dirty="0"/>
          </a:p>
        </p:txBody>
      </p:sp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4" t="4894" r="6776" b="1879"/>
          <a:stretch/>
        </p:blipFill>
        <p:spPr>
          <a:xfrm>
            <a:off x="2424793" y="1133503"/>
            <a:ext cx="7372350" cy="5085877"/>
          </a:xfrm>
          <a:prstGeom prst="rect">
            <a:avLst/>
          </a:prstGeom>
        </p:spPr>
      </p:pic>
      <p:sp>
        <p:nvSpPr>
          <p:cNvPr id="10" name="Zástupný symbol pro zápatí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1" name="Zástupný symbol pro číslo snímku 10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11393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 smtClean="0"/>
              <a:t>Děkuji Vám za pozornost!</a:t>
            </a:r>
            <a:endParaRPr lang="cs-CZ" dirty="0"/>
          </a:p>
        </p:txBody>
      </p:sp>
      <p:sp>
        <p:nvSpPr>
          <p:cNvPr id="6" name="Zástupný symbol pro obrázek 5"/>
          <p:cNvSpPr>
            <a:spLocks noGrp="1"/>
          </p:cNvSpPr>
          <p:nvPr>
            <p:ph type="pic" sz="quarter" idx="10"/>
          </p:nvPr>
        </p:nvSpPr>
        <p:spPr/>
      </p:sp>
      <p:pic>
        <p:nvPicPr>
          <p:cNvPr id="7" name="Bild 2" descr="liebherr-machines-special-foundation-engineering.jp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8182" y="-2"/>
            <a:ext cx="7535636" cy="42387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05404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text 7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6" name="Zástupný symbol pro obsah 5"/>
          <p:cNvPicPr>
            <a:picLocks noGrp="1" noChangeAspect="1"/>
          </p:cNvPicPr>
          <p:nvPr>
            <p:ph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89" b="2524"/>
          <a:stretch/>
        </p:blipFill>
        <p:spPr>
          <a:xfrm>
            <a:off x="277586" y="0"/>
            <a:ext cx="11683093" cy="6861737"/>
          </a:xfrm>
        </p:spPr>
      </p:pic>
    </p:spTree>
    <p:extLst>
      <p:ext uri="{BB962C8B-B14F-4D97-AF65-F5344CB8AC3E}">
        <p14:creationId xmlns:p14="http://schemas.microsoft.com/office/powerpoint/2010/main" val="37595707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text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cs-CZ"/>
          </a:p>
        </p:txBody>
      </p:sp>
      <p:pic>
        <p:nvPicPr>
          <p:cNvPr id="8" name="Zástupný symbol pro obsah 7"/>
          <p:cNvPicPr>
            <a:picLocks noGrp="1" noChangeAspect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84"/>
          <a:stretch/>
        </p:blipFill>
        <p:spPr>
          <a:xfrm>
            <a:off x="236763" y="0"/>
            <a:ext cx="11716856" cy="6871981"/>
          </a:xfrm>
        </p:spPr>
      </p:pic>
    </p:spTree>
    <p:extLst>
      <p:ext uri="{BB962C8B-B14F-4D97-AF65-F5344CB8AC3E}">
        <p14:creationId xmlns:p14="http://schemas.microsoft.com/office/powerpoint/2010/main" val="36577425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Vrtné soupravy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Kelly</a:t>
            </a:r>
            <a:r>
              <a:rPr lang="cs-CZ" dirty="0" smtClean="0"/>
              <a:t> vrtání</a:t>
            </a:r>
            <a:endParaRPr lang="cs-CZ" dirty="0"/>
          </a:p>
        </p:txBody>
      </p:sp>
      <p:pic>
        <p:nvPicPr>
          <p:cNvPr id="4" name="Zástupný symbol pro obrázek 4" descr="Drilling methods for deep foundation - Liebherr - Internet Explorer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7"/>
          <a:stretch/>
        </p:blipFill>
        <p:spPr>
          <a:xfrm>
            <a:off x="1483154" y="1126671"/>
            <a:ext cx="9180000" cy="5163009"/>
          </a:xfrm>
          <a:prstGeom prst="rect">
            <a:avLst/>
          </a:prstGeom>
        </p:spPr>
      </p:pic>
      <p:sp>
        <p:nvSpPr>
          <p:cNvPr id="8" name="Zástupný symbol pro zápatí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467179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text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Vrtné soupravy</a:t>
            </a:r>
            <a:endParaRPr lang="cs-CZ" dirty="0"/>
          </a:p>
        </p:txBody>
      </p:sp>
      <p:sp>
        <p:nvSpPr>
          <p:cNvPr id="8" name="Nadpis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 smtClean="0"/>
              <a:t>Kelly</a:t>
            </a:r>
            <a:r>
              <a:rPr lang="cs-CZ" dirty="0" smtClean="0"/>
              <a:t> vrtání</a:t>
            </a:r>
            <a:endParaRPr lang="cs-CZ" dirty="0"/>
          </a:p>
        </p:txBody>
      </p:sp>
      <p:pic>
        <p:nvPicPr>
          <p:cNvPr id="4" name="Zástupný symbol pro obsah 3"/>
          <p:cNvPicPr>
            <a:picLocks noGrp="1" noChangeAspect="1"/>
          </p:cNvPicPr>
          <p:nvPr>
            <p:ph idx="429496729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906235" y="1058607"/>
            <a:ext cx="5198823" cy="5198822"/>
          </a:xfrm>
        </p:spPr>
      </p:pic>
      <p:pic>
        <p:nvPicPr>
          <p:cNvPr id="5" name="Obrázek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59"/>
          <a:stretch/>
        </p:blipFill>
        <p:spPr>
          <a:xfrm>
            <a:off x="6296183" y="1065549"/>
            <a:ext cx="4962369" cy="5191879"/>
          </a:xfrm>
          <a:prstGeom prst="rect">
            <a:avLst/>
          </a:prstGeom>
        </p:spPr>
      </p:pic>
      <p:sp>
        <p:nvSpPr>
          <p:cNvPr id="11" name="Zástupný symbol pro zápatí 10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2" name="Zástupný symbol pro číslo snímku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40752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Vrtné soupravy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rtání průběžným šnekem CFA</a:t>
            </a:r>
            <a:endParaRPr lang="cs-CZ" dirty="0"/>
          </a:p>
        </p:txBody>
      </p:sp>
      <p:pic>
        <p:nvPicPr>
          <p:cNvPr id="5" name="Zástupný symbol pro obrázek 4" descr="Drilling methods for deep foundation - Liebherr - Internet Explore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146272" y="1325262"/>
            <a:ext cx="9180000" cy="4811886"/>
          </a:xfrm>
          <a:prstGeom prst="rect">
            <a:avLst/>
          </a:prstGeom>
        </p:spPr>
      </p:pic>
      <p:sp>
        <p:nvSpPr>
          <p:cNvPr id="9" name="Zástupný symbol pro zápatí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414222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text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Vrtné soupravy</a:t>
            </a:r>
            <a:endParaRPr lang="cs-CZ" dirty="0"/>
          </a:p>
        </p:txBody>
      </p:sp>
      <p:sp>
        <p:nvSpPr>
          <p:cNvPr id="6" name="Nadpis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rtání průběžným šnekem CFA</a:t>
            </a:r>
            <a:endParaRPr lang="cs-CZ" dirty="0"/>
          </a:p>
        </p:txBody>
      </p:sp>
      <p:pic>
        <p:nvPicPr>
          <p:cNvPr id="2317" name="Zástupný symbol pro obsah 2316"/>
          <p:cNvPicPr>
            <a:picLocks noGrp="1" noChangeAspect="1"/>
          </p:cNvPicPr>
          <p:nvPr>
            <p:ph idx="4294967295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16"/>
          <a:stretch/>
        </p:blipFill>
        <p:spPr>
          <a:xfrm>
            <a:off x="427864" y="1419697"/>
            <a:ext cx="5771539" cy="4561082"/>
          </a:xfrm>
        </p:spPr>
      </p:pic>
      <p:pic>
        <p:nvPicPr>
          <p:cNvPr id="2318" name="Obrázek 231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54" r="7005"/>
          <a:stretch/>
        </p:blipFill>
        <p:spPr>
          <a:xfrm>
            <a:off x="6257873" y="1419696"/>
            <a:ext cx="5490000" cy="4561082"/>
          </a:xfrm>
          <a:prstGeom prst="rect">
            <a:avLst/>
          </a:prstGeom>
        </p:spPr>
      </p:pic>
      <p:sp>
        <p:nvSpPr>
          <p:cNvPr id="9" name="Zástupný symbol pro zápatí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8487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 smtClean="0"/>
              <a:t>Vrtné soupravy</a:t>
            </a:r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Roztlačované piloty FDP</a:t>
            </a:r>
            <a:endParaRPr lang="cs-CZ" dirty="0"/>
          </a:p>
        </p:txBody>
      </p:sp>
      <p:pic>
        <p:nvPicPr>
          <p:cNvPr id="5" name="Zástupný symbol pro obrázek 4" descr="Drilling methods for deep foundation - Liebherr - Internet Explorer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506000" y="1241604"/>
            <a:ext cx="9180000" cy="4740038"/>
          </a:xfrm>
          <a:prstGeom prst="rect">
            <a:avLst/>
          </a:prstGeom>
        </p:spPr>
      </p:pic>
      <p:sp>
        <p:nvSpPr>
          <p:cNvPr id="9" name="Zástupný symbol pro zápatí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Aréna VUT - Zakládání staveb, 1.3.2018</a:t>
            </a:r>
            <a:endParaRPr lang="en-US" dirty="0"/>
          </a:p>
        </p:txBody>
      </p:sp>
      <p:sp>
        <p:nvSpPr>
          <p:cNvPr id="10" name="Zástupný symbol pro číslo snímku 9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indent="0">
              <a:buFontTx/>
              <a:buNone/>
            </a:pPr>
            <a:fld id="{9E363D0F-E4C1-447A-8914-061620C3DD6E}" type="slidenum">
              <a:rPr lang="en-US" smtClean="0"/>
              <a:pPr marL="0" indent="0">
                <a:buFontTx/>
                <a:buNone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8992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BULLET_IMAGE_BINARY_DATA" val="iVBORw0KGgoAAAANSUhEUgAAABoAAAAaCAMAAAHpk4xqAAAAAXNSR0IArs4c6QAAAARnQU1BAACxjwv8YQUAAAAJUExURQAAAObm5v/EAAbwG2MAAAABdFJOUwBA5thmAAAACXBIWXMAABcRAAAXEQHKJvM/AAAAWElEQVQoU8WOAQrAIAwD2/z/0da0GTrGZLKxA5X2NNUSQJtwONeEA2x5J1sDYSnn4+qmYE6nqoiPV+tql5qmTEYeE96pBKsvqPyBEiuV/yR/qhMlbtVDzBpG7AGsz4sbGQAAAABJRU5ErkJggg=="/>
  <p:tag name="MIO_PRESI_FIRST_SLIDENUMBER" val="1"/>
  <p:tag name="MIO_EK" val="2041"/>
  <p:tag name="MIO_FALLBACK_LAYOUT" val="1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1b5ce29f-038b-411c-afcf-6b5b2ff770e4"/>
  <p:tag name="MIO_UPDATE" val="True"/>
  <p:tag name="MIO_VERSION" val="02.11.2017 13:29:53"/>
  <p:tag name="MIO_DBID" val="D2ADB5CE-4791-4BD6-A5B0-2150AF1FFAC7"/>
  <p:tag name="MIO_LASTDOWNLOADED" val="20.02.2018 11:41:23"/>
  <p:tag name="MIO_OBJECTNAME" val="Master gelb DE"/>
  <p:tag name="MIO_LASTEDITORNAME" val="Karina Schreyer"/>
  <p:tag name="MIO_CDID" val="451eeb19-c04f-4baa-b219-473a5b7aed7c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913cbde-6fb6-4aa5-874a-d96d85eb4d39"/>
  <p:tag name="MIO_EKGUID" val="27611e63-0dfc-4d1c-8655-7ffc0170f9b5"/>
  <p:tag name="MIO_UPDATE" val="True"/>
  <p:tag name="MIO_VERSION" val="12.08.2016 11:15:31"/>
  <p:tag name="MIO_DBID" val="D2ADB5CE-4791-4BD6-A5B0-2150AF1FFAC7"/>
  <p:tag name="MIO_LASTDOWNLOADED" val="20.02.2018 15:17:45"/>
  <p:tag name="MIO_OBJECTNAME" val="Bild 2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Default Theme">
  <a:themeElements>
    <a:clrScheme name="LIEBHERR">
      <a:dk1>
        <a:srgbClr val="3A3838"/>
      </a:dk1>
      <a:lt1>
        <a:srgbClr val="FFFFFF"/>
      </a:lt1>
      <a:dk2>
        <a:srgbClr val="7F7F7F"/>
      </a:dk2>
      <a:lt2>
        <a:srgbClr val="FFC400"/>
      </a:lt2>
      <a:accent1>
        <a:srgbClr val="FFC400"/>
      </a:accent1>
      <a:accent2>
        <a:srgbClr val="9A978F"/>
      </a:accent2>
      <a:accent3>
        <a:srgbClr val="C2C0BC"/>
      </a:accent3>
      <a:accent4>
        <a:srgbClr val="E6E6E6"/>
      </a:accent4>
      <a:accent5>
        <a:srgbClr val="787673"/>
      </a:accent5>
      <a:accent6>
        <a:srgbClr val="44423E"/>
      </a:accent6>
      <a:hlink>
        <a:srgbClr val="44423E"/>
      </a:hlink>
      <a:folHlink>
        <a:srgbClr val="78767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marL="0" indent="0" algn="ctr">
          <a:buFontTx/>
          <a:buNone/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85750" indent="-285750">
          <a:buFontTx/>
          <a:buBlip>
            <a:blip xmlns:r="http://schemas.openxmlformats.org/officeDocument/2006/relationships" r:embed="rId1"/>
          </a:buBlip>
          <a:defRPr dirty="0" smtClean="0">
            <a:solidFill>
              <a:schemeClr val="tx1"/>
            </a:solidFill>
            <a:latin typeface="+mj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Präsentation2" id="{D27AD5AB-5B98-4CF0-926D-740FF3FC9F60}" vid="{2199A409-C6CD-4928-A851-5849F91B92F6}"/>
    </a:ext>
  </a:extLst>
</a:theme>
</file>

<file path=ppt/theme/theme2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48</Words>
  <Application>Microsoft Office PowerPoint</Application>
  <PresentationFormat>Vlastní</PresentationFormat>
  <Paragraphs>73</Paragraphs>
  <Slides>24</Slides>
  <Notes>0</Notes>
  <HiddenSlides>0</HiddenSlides>
  <MMClips>0</MMClips>
  <ScaleCrop>false</ScaleCrop>
  <HeadingPairs>
    <vt:vector size="4" baseType="variant">
      <vt:variant>
        <vt:lpstr>Motiv</vt:lpstr>
      </vt:variant>
      <vt:variant>
        <vt:i4>1</vt:i4>
      </vt:variant>
      <vt:variant>
        <vt:lpstr>Nadpisy snímků</vt:lpstr>
      </vt:variant>
      <vt:variant>
        <vt:i4>24</vt:i4>
      </vt:variant>
    </vt:vector>
  </HeadingPairs>
  <TitlesOfParts>
    <vt:vector size="25" baseType="lpstr">
      <vt:lpstr>Default Theme</vt:lpstr>
      <vt:lpstr> LIEBHERR-STAVEBNÍ STROJE CZ s.r.o.</vt:lpstr>
      <vt:lpstr>Prezentace aplikace PowerPoint</vt:lpstr>
      <vt:lpstr>Prezentace aplikace PowerPoint</vt:lpstr>
      <vt:lpstr>Prezentace aplikace PowerPoint</vt:lpstr>
      <vt:lpstr>Kelly vrtání</vt:lpstr>
      <vt:lpstr>Kelly vrtání</vt:lpstr>
      <vt:lpstr>Vrtání průběžným šnekem CFA</vt:lpstr>
      <vt:lpstr>Vrtání průběžným šnekem CFA</vt:lpstr>
      <vt:lpstr>Roztlačované piloty FDP</vt:lpstr>
      <vt:lpstr>Roztlačované piloty FDP</vt:lpstr>
      <vt:lpstr>Trysková injektáž</vt:lpstr>
      <vt:lpstr>Beranění</vt:lpstr>
      <vt:lpstr>Stěnová fréza pro podzemní stěny</vt:lpstr>
      <vt:lpstr>Stěnová fréza pro podzemní stěny</vt:lpstr>
      <vt:lpstr>Stěnový drapák pro podzemní stěny</vt:lpstr>
      <vt:lpstr>Stěnový drapák pro podzemní stěny</vt:lpstr>
      <vt:lpstr>Dynamické hutnění</vt:lpstr>
      <vt:lpstr>Hydraulická rypadla – nosič nářadí</vt:lpstr>
      <vt:lpstr>Kolové nakladače</vt:lpstr>
      <vt:lpstr>Prezentace aplikace PowerPoint</vt:lpstr>
      <vt:lpstr>Prezentace aplikace PowerPoint</vt:lpstr>
      <vt:lpstr>Prezentace aplikace PowerPoint</vt:lpstr>
      <vt:lpstr>Žádný stroj se však neobejde bez </vt:lpstr>
      <vt:lpstr>Prezentace aplikace PowerPoint</vt:lpstr>
    </vt:vector>
  </TitlesOfParts>
  <Company>Liebher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ebherr specialista na zakládání staveb</dc:title>
  <dc:creator>Jilek Ondrej (LSC)</dc:creator>
  <cp:lastModifiedBy>Kadubec Jan (LSC)</cp:lastModifiedBy>
  <cp:revision>31</cp:revision>
  <dcterms:created xsi:type="dcterms:W3CDTF">2018-02-19T20:22:15Z</dcterms:created>
  <dcterms:modified xsi:type="dcterms:W3CDTF">2018-02-20T14:22:51Z</dcterms:modified>
</cp:coreProperties>
</file>